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4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charts/chart4.xml" ContentType="application/vnd.openxmlformats-officedocument.drawingml.chart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charts/chart7.xml" ContentType="application/vnd.openxmlformats-officedocument.drawingml.chart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charts/chart8.xml" ContentType="application/vnd.openxmlformats-officedocument.drawingml.chart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charts/chart9.xml" ContentType="application/vnd.openxmlformats-officedocument.drawingml.chart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0.xml" ContentType="application/vnd.openxmlformats-officedocument.drawingml.chart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charts/chart11.xml" ContentType="application/vnd.openxmlformats-officedocument.drawingml.chart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2.xml" ContentType="application/vnd.openxmlformats-officedocument.drawingml.chart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3.xml" ContentType="application/vnd.openxmlformats-officedocument.drawingml.chart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4.xml" ContentType="application/vnd.openxmlformats-officedocument.drawingml.chart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5.xml" ContentType="application/vnd.openxmlformats-officedocument.drawingml.chart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charts/chart16.xml" ContentType="application/vnd.openxmlformats-officedocument.drawingml.chart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charts/chart17.xml" ContentType="application/vnd.openxmlformats-officedocument.drawingml.chart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8.xml" ContentType="application/vnd.openxmlformats-officedocument.drawingml.chart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9.xml" ContentType="application/vnd.openxmlformats-officedocument.drawingml.chart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20.xml" ContentType="application/vnd.openxmlformats-officedocument.drawingml.chart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2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3" r:id="rId1"/>
  </p:sldMasterIdLst>
  <p:notesMasterIdLst>
    <p:notesMasterId r:id="rId29"/>
  </p:notesMasterIdLst>
  <p:handoutMasterIdLst>
    <p:handoutMasterId r:id="rId30"/>
  </p:handoutMasterIdLst>
  <p:sldIdLst>
    <p:sldId id="1620" r:id="rId2"/>
    <p:sldId id="1621" r:id="rId3"/>
    <p:sldId id="1622" r:id="rId4"/>
    <p:sldId id="1623" r:id="rId5"/>
    <p:sldId id="1624" r:id="rId6"/>
    <p:sldId id="1625" r:id="rId7"/>
    <p:sldId id="1626" r:id="rId8"/>
    <p:sldId id="1498" r:id="rId9"/>
    <p:sldId id="1490" r:id="rId10"/>
    <p:sldId id="1629" r:id="rId11"/>
    <p:sldId id="1491" r:id="rId12"/>
    <p:sldId id="1492" r:id="rId13"/>
    <p:sldId id="1500" r:id="rId14"/>
    <p:sldId id="1503" r:id="rId15"/>
    <p:sldId id="1502" r:id="rId16"/>
    <p:sldId id="1627" r:id="rId17"/>
    <p:sldId id="1631" r:id="rId18"/>
    <p:sldId id="1567" r:id="rId19"/>
    <p:sldId id="1571" r:id="rId20"/>
    <p:sldId id="1632" r:id="rId21"/>
    <p:sldId id="1597" r:id="rId22"/>
    <p:sldId id="1598" r:id="rId23"/>
    <p:sldId id="1573" r:id="rId24"/>
    <p:sldId id="1628" r:id="rId25"/>
    <p:sldId id="1563" r:id="rId26"/>
    <p:sldId id="1564" r:id="rId27"/>
    <p:sldId id="1565" r:id="rId28"/>
  </p:sldIdLst>
  <p:sldSz cx="9906000" cy="6858000" type="A4"/>
  <p:notesSz cx="6738938" cy="9869488"/>
  <p:custDataLst>
    <p:tags r:id="rId31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AW-VW" id="{8635E89B-1291-4B5D-B4F6-637699D9243D}">
          <p14:sldIdLst>
            <p14:sldId id="1620"/>
            <p14:sldId id="1621"/>
            <p14:sldId id="1622"/>
            <p14:sldId id="1623"/>
            <p14:sldId id="1624"/>
            <p14:sldId id="1625"/>
            <p14:sldId id="1626"/>
            <p14:sldId id="1498"/>
            <p14:sldId id="1490"/>
            <p14:sldId id="1629"/>
            <p14:sldId id="1491"/>
            <p14:sldId id="1492"/>
            <p14:sldId id="1500"/>
            <p14:sldId id="1503"/>
            <p14:sldId id="1502"/>
            <p14:sldId id="1627"/>
            <p14:sldId id="1631"/>
            <p14:sldId id="1567"/>
            <p14:sldId id="1571"/>
            <p14:sldId id="1632"/>
            <p14:sldId id="1597"/>
            <p14:sldId id="1598"/>
            <p14:sldId id="1573"/>
            <p14:sldId id="1628"/>
            <p14:sldId id="1563"/>
            <p14:sldId id="1564"/>
            <p14:sldId id="156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33">
          <p15:clr>
            <a:srgbClr val="A4A3A4"/>
          </p15:clr>
        </p15:guide>
        <p15:guide id="2" orient="horz" pos="1102">
          <p15:clr>
            <a:srgbClr val="A4A3A4"/>
          </p15:clr>
        </p15:guide>
        <p15:guide id="3" orient="horz" pos="4004">
          <p15:clr>
            <a:srgbClr val="A4A3A4"/>
          </p15:clr>
        </p15:guide>
        <p15:guide id="4" orient="horz" pos="4201">
          <p15:clr>
            <a:srgbClr val="A4A3A4"/>
          </p15:clr>
        </p15:guide>
        <p15:guide id="5" orient="horz" pos="482">
          <p15:clr>
            <a:srgbClr val="A4A3A4"/>
          </p15:clr>
        </p15:guide>
        <p15:guide id="6" pos="3664">
          <p15:clr>
            <a:srgbClr val="A4A3A4"/>
          </p15:clr>
        </p15:guide>
        <p15:guide id="7" pos="3066">
          <p15:clr>
            <a:srgbClr val="A4A3A4"/>
          </p15:clr>
        </p15:guide>
        <p15:guide id="8" pos="3156">
          <p15:clr>
            <a:srgbClr val="A4A3A4"/>
          </p15:clr>
        </p15:guide>
        <p15:guide id="9" pos="2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6F4E"/>
    <a:srgbClr val="006600"/>
    <a:srgbClr val="A21E4D"/>
    <a:srgbClr val="003366"/>
    <a:srgbClr val="80B0C8"/>
    <a:srgbClr val="EFC1D6"/>
    <a:srgbClr val="FDB56C"/>
    <a:srgbClr val="004666"/>
    <a:srgbClr val="EDF2F5"/>
    <a:srgbClr val="0B50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147" autoAdjust="0"/>
    <p:restoredTop sz="94343" autoAdjust="0"/>
  </p:normalViewPr>
  <p:slideViewPr>
    <p:cSldViewPr snapToGrid="0" showGuides="1">
      <p:cViewPr varScale="1">
        <p:scale>
          <a:sx n="112" d="100"/>
          <a:sy n="112" d="100"/>
        </p:scale>
        <p:origin x="1624" y="72"/>
      </p:cViewPr>
      <p:guideLst>
        <p:guide orient="horz" pos="733"/>
        <p:guide orient="horz" pos="1102"/>
        <p:guide orient="horz" pos="4004"/>
        <p:guide orient="horz" pos="4201"/>
        <p:guide orient="horz" pos="482"/>
        <p:guide pos="3664"/>
        <p:guide pos="3066"/>
        <p:guide pos="3156"/>
        <p:guide pos="2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96" y="12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38053663416043"/>
          <c:y val="2.8324619078141572E-2"/>
          <c:w val="0.87690155481656074"/>
          <c:h val="0.70864144765781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 66</c:v>
                </c:pt>
              </c:strCache>
            </c:strRef>
          </c:tx>
          <c:spPr>
            <a:ln w="28575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B$2:$B$22</c:f>
            </c:numRef>
          </c:val>
          <c:smooth val="0"/>
          <c:extLst>
            <c:ext xmlns:c16="http://schemas.microsoft.com/office/drawing/2014/chart" uri="{C3380CC4-5D6E-409C-BE32-E72D297353CC}">
              <c16:uniqueId val="{00000000-571D-4A5E-A8E0-E10FDBC566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 67</c:v>
                </c:pt>
              </c:strCache>
            </c:strRef>
          </c:tx>
          <c:spPr>
            <a:ln w="28575">
              <a:solidFill>
                <a:srgbClr val="0070C0"/>
              </a:solidFill>
              <a:prstDash val="solid"/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C$2:$C$22</c:f>
            </c:numRef>
          </c:val>
          <c:smooth val="0"/>
          <c:extLst>
            <c:ext xmlns:c16="http://schemas.microsoft.com/office/drawing/2014/chart" uri="{C3380CC4-5D6E-409C-BE32-E72D297353CC}">
              <c16:uniqueId val="{00000001-571D-4A5E-A8E0-E10FDBC566A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R68.SP</c:v>
                </c:pt>
              </c:strCache>
            </c:strRef>
          </c:tx>
          <c:spPr>
            <a:ln w="38100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571D-4A5E-A8E0-E10FDBC566A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571D-4A5E-A8E0-E10FDBC566AE}"/>
              </c:ext>
            </c:extLst>
          </c:dPt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D$2:$D$22</c:f>
            </c:numRef>
          </c:val>
          <c:smooth val="0"/>
          <c:extLst>
            <c:ext xmlns:c16="http://schemas.microsoft.com/office/drawing/2014/chart" uri="{C3380CC4-5D6E-409C-BE32-E72D297353CC}">
              <c16:uniqueId val="{00000006-571D-4A5E-A8E0-E10FDBC566A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68.OP</c:v>
                </c:pt>
              </c:strCache>
            </c:strRef>
          </c:tx>
          <c:spPr>
            <a:ln w="38100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8-571D-4A5E-A8E0-E10FDBC566A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A-571D-4A5E-A8E0-E10FDBC566AE}"/>
              </c:ext>
            </c:extLst>
          </c:dPt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E$2:$E$22</c:f>
            </c:numRef>
          </c:val>
          <c:smooth val="0"/>
          <c:extLst>
            <c:ext xmlns:c16="http://schemas.microsoft.com/office/drawing/2014/chart" uri="{C3380CC4-5D6E-409C-BE32-E72D297353CC}">
              <c16:uniqueId val="{0000000B-571D-4A5E-A8E0-E10FDBC566A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PR69 SP</c:v>
                </c:pt>
              </c:strCache>
            </c:strRef>
          </c:tx>
          <c:spPr>
            <a:ln w="38100">
              <a:solidFill>
                <a:srgbClr val="FFFFFF">
                  <a:lumMod val="65000"/>
                </a:srgbClr>
              </a:solidFill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F$2:$F$22</c:f>
              <c:numCache>
                <c:formatCode>#,##0,</c:formatCode>
                <c:ptCount val="14"/>
                <c:pt idx="0">
                  <c:v>23852192</c:v>
                </c:pt>
                <c:pt idx="1">
                  <c:v>22745059</c:v>
                </c:pt>
                <c:pt idx="2">
                  <c:v>21273064</c:v>
                </c:pt>
                <c:pt idx="3">
                  <c:v>21700000</c:v>
                </c:pt>
                <c:pt idx="4">
                  <c:v>22000000</c:v>
                </c:pt>
                <c:pt idx="5">
                  <c:v>22500000</c:v>
                </c:pt>
                <c:pt idx="6">
                  <c:v>23400000</c:v>
                </c:pt>
                <c:pt idx="7">
                  <c:v>24500000</c:v>
                </c:pt>
                <c:pt idx="8">
                  <c:v>25800000</c:v>
                </c:pt>
                <c:pt idx="9">
                  <c:v>27100000</c:v>
                </c:pt>
                <c:pt idx="10">
                  <c:v>28300000</c:v>
                </c:pt>
                <c:pt idx="11">
                  <c:v>29200000</c:v>
                </c:pt>
                <c:pt idx="12">
                  <c:v>30000000</c:v>
                </c:pt>
                <c:pt idx="13">
                  <c:v>30500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B87-4797-AB61-F8BA1135F2A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PR69 OP</c:v>
                </c:pt>
              </c:strCache>
            </c:strRef>
          </c:tx>
          <c:spPr>
            <a:ln>
              <a:prstDash val="solid"/>
            </a:ln>
          </c:spPr>
          <c:marker>
            <c:symbol val="none"/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5-E079-437D-9B7D-ADF14DBF23A7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6-E079-437D-9B7D-ADF14DBF23A7}"/>
              </c:ext>
            </c:extLst>
          </c:dPt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G$2:$G$22</c:f>
              <c:numCache>
                <c:formatCode>#,##0,</c:formatCode>
                <c:ptCount val="14"/>
                <c:pt idx="0">
                  <c:v>23852192</c:v>
                </c:pt>
                <c:pt idx="1">
                  <c:v>22745059</c:v>
                </c:pt>
                <c:pt idx="2">
                  <c:v>21273064</c:v>
                </c:pt>
                <c:pt idx="3">
                  <c:v>19000000</c:v>
                </c:pt>
                <c:pt idx="4">
                  <c:v>21200000</c:v>
                </c:pt>
                <c:pt idx="5">
                  <c:v>22500000</c:v>
                </c:pt>
                <c:pt idx="6">
                  <c:v>23400000</c:v>
                </c:pt>
                <c:pt idx="7">
                  <c:v>24500000</c:v>
                </c:pt>
                <c:pt idx="8">
                  <c:v>25800000</c:v>
                </c:pt>
                <c:pt idx="9">
                  <c:v>27100000</c:v>
                </c:pt>
                <c:pt idx="10">
                  <c:v>28300000</c:v>
                </c:pt>
                <c:pt idx="11">
                  <c:v>29200000</c:v>
                </c:pt>
                <c:pt idx="12">
                  <c:v>30000000</c:v>
                </c:pt>
                <c:pt idx="13">
                  <c:v>30500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079-437D-9B7D-ADF14DBF23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4931072"/>
        <c:axId val="124936960"/>
      </c:lineChart>
      <c:catAx>
        <c:axId val="124931072"/>
        <c:scaling>
          <c:orientation val="minMax"/>
        </c:scaling>
        <c:delete val="1"/>
        <c:axPos val="b"/>
        <c:numFmt formatCode="0," sourceLinked="0"/>
        <c:majorTickMark val="out"/>
        <c:minorTickMark val="none"/>
        <c:tickLblPos val="nextTo"/>
        <c:crossAx val="124936960"/>
        <c:crossesAt val="1000000000"/>
        <c:auto val="1"/>
        <c:lblAlgn val="ctr"/>
        <c:lblOffset val="100"/>
        <c:noMultiLvlLbl val="0"/>
      </c:catAx>
      <c:valAx>
        <c:axId val="124936960"/>
        <c:scaling>
          <c:orientation val="minMax"/>
          <c:min val="18000000"/>
        </c:scaling>
        <c:delete val="0"/>
        <c:axPos val="l"/>
        <c:numFmt formatCode="#,##0," sourceLinked="0"/>
        <c:majorTickMark val="out"/>
        <c:minorTickMark val="none"/>
        <c:tickLblPos val="nextTo"/>
        <c:txPr>
          <a:bodyPr/>
          <a:lstStyle/>
          <a:p>
            <a:pPr>
              <a:defRPr sz="900" b="0"/>
            </a:pPr>
            <a:endParaRPr lang="en-US"/>
          </a:p>
        </c:txPr>
        <c:crossAx val="124931072"/>
        <c:crosses val="autoZero"/>
        <c:crossBetween val="between"/>
      </c:valAx>
      <c:dTable>
        <c:showHorzBorder val="1"/>
        <c:showVertBorder val="1"/>
        <c:showOutline val="1"/>
        <c:showKeys val="0"/>
        <c:txPr>
          <a:bodyPr/>
          <a:lstStyle/>
          <a:p>
            <a:pPr rtl="0">
              <a:defRPr sz="900"/>
            </a:pPr>
            <a:endParaRPr lang="en-US"/>
          </a:p>
        </c:txPr>
      </c:dTable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800"/>
      </a:pPr>
      <a:endParaRPr lang="en-US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958532674524174E-2"/>
          <c:y val="0.12018235711134571"/>
          <c:w val="0.88211769796794537"/>
          <c:h val="0.8201436184339039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 69.SP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0"/>
              <c:numFmt formatCode="#,##0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9B4-4B83-B157-09EB9AD1FBBB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L$2</c:f>
              <c:numCache>
                <c:formatCode>#,##0</c:formatCode>
                <c:ptCount val="11"/>
                <c:pt idx="0">
                  <c:v>100000</c:v>
                </c:pt>
                <c:pt idx="1">
                  <c:v>110000</c:v>
                </c:pt>
                <c:pt idx="2">
                  <c:v>120000</c:v>
                </c:pt>
                <c:pt idx="3">
                  <c:v>130000</c:v>
                </c:pt>
                <c:pt idx="4">
                  <c:v>140000</c:v>
                </c:pt>
                <c:pt idx="5">
                  <c:v>150000</c:v>
                </c:pt>
                <c:pt idx="6">
                  <c:v>160000</c:v>
                </c:pt>
                <c:pt idx="7">
                  <c:v>170000</c:v>
                </c:pt>
                <c:pt idx="8">
                  <c:v>180000</c:v>
                </c:pt>
                <c:pt idx="9">
                  <c:v>190000</c:v>
                </c:pt>
                <c:pt idx="10">
                  <c:v>2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B4-4B83-B157-09EB9AD1FBB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 69.OP</c:v>
                </c:pt>
              </c:strCache>
            </c:strRef>
          </c:tx>
          <c:spPr>
            <a:solidFill>
              <a:srgbClr val="026F4E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A5A-4385-900E-79239C2025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3:$L$3</c:f>
              <c:numCache>
                <c:formatCode>#,##0</c:formatCode>
                <c:ptCount val="11"/>
                <c:pt idx="0">
                  <c:v>50000</c:v>
                </c:pt>
                <c:pt idx="1">
                  <c:v>60000</c:v>
                </c:pt>
                <c:pt idx="2">
                  <c:v>70000</c:v>
                </c:pt>
                <c:pt idx="3">
                  <c:v>80000</c:v>
                </c:pt>
                <c:pt idx="4">
                  <c:v>90000</c:v>
                </c:pt>
                <c:pt idx="5">
                  <c:v>100000</c:v>
                </c:pt>
                <c:pt idx="6">
                  <c:v>110000</c:v>
                </c:pt>
                <c:pt idx="7">
                  <c:v>120000</c:v>
                </c:pt>
                <c:pt idx="8">
                  <c:v>130000</c:v>
                </c:pt>
                <c:pt idx="9">
                  <c:v>140000</c:v>
                </c:pt>
                <c:pt idx="10">
                  <c:v>15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B4-4B83-B157-09EB9AD1F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11668352"/>
        <c:axId val="211678336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MS% PR69.SP</c:v>
                </c:pt>
              </c:strCache>
            </c:strRef>
          </c:tx>
          <c:spPr>
            <a:ln w="19050">
              <a:solidFill>
                <a:schemeClr val="tx1"/>
              </a:solidFill>
              <a:prstDash val="sysDot"/>
            </a:ln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1"/>
                </a:solidFill>
                <a:prstDash val="sysDot"/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3-C9B4-4B83-B157-09EB9AD1FBBB}"/>
              </c:ext>
            </c:extLst>
          </c:dPt>
          <c:dLbls>
            <c:dLbl>
              <c:idx val="6"/>
              <c:layout>
                <c:manualLayout>
                  <c:x val="-8.2559446108753185E-3"/>
                  <c:y val="-3.32279548901375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C9B4-4B83-B157-09EB9AD1FBBB}"/>
                </c:ext>
              </c:extLst>
            </c:dLbl>
            <c:dLbl>
              <c:idx val="7"/>
              <c:layout>
                <c:manualLayout>
                  <c:x val="-9.9162587240029694E-3"/>
                  <c:y val="-4.45556667845026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E3D7-427C-9349-7A503CC1FA28}"/>
                </c:ext>
              </c:extLst>
            </c:dLbl>
            <c:dLbl>
              <c:idx val="8"/>
              <c:layout>
                <c:manualLayout>
                  <c:x val="-9.9162587240029694E-3"/>
                  <c:y val="-4.455566678450268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E3D7-427C-9349-7A503CC1FA28}"/>
                </c:ext>
              </c:extLst>
            </c:dLbl>
            <c:dLbl>
              <c:idx val="9"/>
              <c:layout>
                <c:manualLayout>
                  <c:x val="-1.6557515176513084E-2"/>
                  <c:y val="-5.21074747140794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E3D7-427C-9349-7A503CC1FA28}"/>
                </c:ext>
              </c:extLst>
            </c:dLbl>
            <c:dLbl>
              <c:idx val="10"/>
              <c:layout>
                <c:manualLayout>
                  <c:x val="-2.817971396840566E-2"/>
                  <c:y val="-4.833157074929098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C9B4-4B83-B157-09EB9AD1FBBB}"/>
                </c:ext>
              </c:extLst>
            </c:dLbl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4:$L$4</c:f>
              <c:numCache>
                <c:formatCode>0.0%</c:formatCode>
                <c:ptCount val="11"/>
                <c:pt idx="0">
                  <c:v>0.01</c:v>
                </c:pt>
                <c:pt idx="1">
                  <c:v>1.0999999999999999E-2</c:v>
                </c:pt>
                <c:pt idx="2">
                  <c:v>1.2E-2</c:v>
                </c:pt>
                <c:pt idx="3">
                  <c:v>1.2999999999999999E-2</c:v>
                </c:pt>
                <c:pt idx="4">
                  <c:v>1.4E-2</c:v>
                </c:pt>
                <c:pt idx="5">
                  <c:v>1.4999999999999999E-2</c:v>
                </c:pt>
                <c:pt idx="6">
                  <c:v>1.6E-2</c:v>
                </c:pt>
                <c:pt idx="7">
                  <c:v>1.7000000000000001E-2</c:v>
                </c:pt>
                <c:pt idx="8">
                  <c:v>1.7999999999999999E-2</c:v>
                </c:pt>
                <c:pt idx="9">
                  <c:v>1.9E-2</c:v>
                </c:pt>
                <c:pt idx="10">
                  <c:v>0.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C9B4-4B83-B157-09EB9AD1FBBB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S% PR69.OP</c:v>
                </c:pt>
              </c:strCache>
            </c:strRef>
          </c:tx>
          <c:spPr>
            <a:ln w="22225">
              <a:solidFill>
                <a:srgbClr val="026F4E"/>
              </a:solidFill>
            </a:ln>
          </c:spPr>
          <c:marker>
            <c:symbol val="diamond"/>
            <c:size val="7"/>
            <c:spPr>
              <a:solidFill>
                <a:srgbClr val="026F4E"/>
              </a:solidFill>
              <a:ln>
                <a:solidFill>
                  <a:srgbClr val="026F4E"/>
                </a:solidFill>
              </a:ln>
            </c:spPr>
          </c:marker>
          <c:dLbls>
            <c:dLbl>
              <c:idx val="6"/>
              <c:layout>
                <c:manualLayout>
                  <c:x val="-3.3160590941090876E-2"/>
                  <c:y val="4.0779614162077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8095841959013763E-2"/>
                      <c:h val="5.059711312816398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C-C9B4-4B83-B157-09EB9AD1FBBB}"/>
                </c:ext>
              </c:extLst>
            </c:dLbl>
            <c:dLbl>
              <c:idx val="7"/>
              <c:layout>
                <c:manualLayout>
                  <c:x val="-2.9840028081533312E-2"/>
                  <c:y val="5.210747471407926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E3D7-427C-9349-7A503CC1FA28}"/>
                </c:ext>
              </c:extLst>
            </c:dLbl>
            <c:dLbl>
              <c:idx val="8"/>
              <c:layout>
                <c:manualLayout>
                  <c:x val="-2.9840028081533312E-2"/>
                  <c:y val="5.21074747140794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C9B4-4B83-B157-09EB9AD1FBBB}"/>
                </c:ext>
              </c:extLst>
            </c:dLbl>
            <c:dLbl>
              <c:idx val="9"/>
              <c:layout>
                <c:manualLayout>
                  <c:x val="-2.4859085742150726E-2"/>
                  <c:y val="5.21074747140793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E-C9B4-4B83-B157-09EB9AD1FBBB}"/>
                </c:ext>
              </c:extLst>
            </c:dLbl>
            <c:dLbl>
              <c:idx val="10"/>
              <c:layout>
                <c:manualLayout>
                  <c:x val="-2.6519399855278132E-2"/>
                  <c:y val="5.21074747140793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C9B4-4B83-B157-09EB9AD1FBBB}"/>
                </c:ext>
              </c:extLst>
            </c:dLbl>
            <c:numFmt formatCode="0.0%" sourceLinked="0"/>
            <c:spPr>
              <a:solidFill>
                <a:schemeClr val="bg1">
                  <a:lumMod val="95000"/>
                </a:schemeClr>
              </a:solidFill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5:$L$5</c:f>
              <c:numCache>
                <c:formatCode>0.0%</c:formatCode>
                <c:ptCount val="11"/>
                <c:pt idx="0">
                  <c:v>0.02</c:v>
                </c:pt>
                <c:pt idx="1">
                  <c:v>2.1000000000000001E-2</c:v>
                </c:pt>
                <c:pt idx="2">
                  <c:v>2.1999999999999999E-2</c:v>
                </c:pt>
                <c:pt idx="3">
                  <c:v>2.3E-2</c:v>
                </c:pt>
                <c:pt idx="4">
                  <c:v>2.4E-2</c:v>
                </c:pt>
                <c:pt idx="5">
                  <c:v>2.5000000000000001E-2</c:v>
                </c:pt>
                <c:pt idx="6">
                  <c:v>2.5999999999999999E-2</c:v>
                </c:pt>
                <c:pt idx="7">
                  <c:v>2.7E-2</c:v>
                </c:pt>
                <c:pt idx="8">
                  <c:v>2.8000000000000001E-2</c:v>
                </c:pt>
                <c:pt idx="9">
                  <c:v>2.9000000000000001E-2</c:v>
                </c:pt>
                <c:pt idx="10">
                  <c:v>0.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C9B4-4B83-B157-09EB9AD1F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2165376"/>
        <c:axId val="211680256"/>
      </c:lineChart>
      <c:catAx>
        <c:axId val="2116683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211678336"/>
        <c:crosses val="autoZero"/>
        <c:auto val="1"/>
        <c:lblAlgn val="ctr"/>
        <c:lblOffset val="100"/>
        <c:noMultiLvlLbl val="0"/>
      </c:catAx>
      <c:valAx>
        <c:axId val="211678336"/>
        <c:scaling>
          <c:orientation val="minMax"/>
          <c:max val="1800000"/>
          <c:min val="0"/>
        </c:scaling>
        <c:delete val="0"/>
        <c:axPos val="l"/>
        <c:numFmt formatCode="#,##0" sourceLinked="1"/>
        <c:majorTickMark val="none"/>
        <c:minorTickMark val="none"/>
        <c:tickLblPos val="none"/>
        <c:spPr>
          <a:ln>
            <a:noFill/>
          </a:ln>
        </c:spPr>
        <c:crossAx val="211668352"/>
        <c:crosses val="autoZero"/>
        <c:crossBetween val="between"/>
        <c:dispUnits>
          <c:builtInUnit val="thousands"/>
        </c:dispUnits>
      </c:valAx>
      <c:valAx>
        <c:axId val="211680256"/>
        <c:scaling>
          <c:orientation val="minMax"/>
          <c:min val="-5.000000000000001E-2"/>
        </c:scaling>
        <c:delete val="0"/>
        <c:axPos val="r"/>
        <c:numFmt formatCode="0%" sourceLinked="0"/>
        <c:majorTickMark val="none"/>
        <c:minorTickMark val="none"/>
        <c:tickLblPos val="none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</c:spPr>
        <c:crossAx val="212165376"/>
        <c:crosses val="max"/>
        <c:crossBetween val="between"/>
      </c:valAx>
      <c:catAx>
        <c:axId val="2121653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1680256"/>
        <c:crosses val="autoZero"/>
        <c:auto val="1"/>
        <c:lblAlgn val="ctr"/>
        <c:lblOffset val="100"/>
        <c:noMultiLvlLbl val="0"/>
      </c:catAx>
      <c:spPr>
        <a:noFill/>
      </c:spPr>
    </c:plotArea>
    <c:legend>
      <c:legendPos val="r"/>
      <c:layout>
        <c:manualLayout>
          <c:xMode val="edge"/>
          <c:yMode val="edge"/>
          <c:x val="6.4543861380766884E-2"/>
          <c:y val="6.9198668097487171E-3"/>
          <c:w val="0.82495297080167274"/>
          <c:h val="4.058279189136838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 b="1">
          <a:latin typeface="VWAG TheSans" panose="020B0502050302020203" pitchFamily="34" charset="0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056345264600101E-3"/>
          <c:y val="3.6645525017618044E-2"/>
          <c:w val="0.98218873094707992"/>
          <c:h val="0.9267089499647639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265-44AF-BB75-FEF7C99BCD37}"/>
              </c:ext>
            </c:extLst>
          </c:dPt>
          <c:dPt>
            <c:idx val="5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265-44AF-BB75-FEF7C99BCD37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1731687.2427983535</c:v>
                </c:pt>
                <c:pt idx="1">
                  <c:v>1531687.2427983535</c:v>
                </c:pt>
                <c:pt idx="3">
                  <c:v>1431687.2427983535</c:v>
                </c:pt>
                <c:pt idx="4">
                  <c:v>1411687.2427983535</c:v>
                </c:pt>
                <c:pt idx="5">
                  <c:v>1411687.24279835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65-44AF-BB75-FEF7C99BCD37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1">
                  <c:v>200000</c:v>
                </c:pt>
                <c:pt idx="3">
                  <c:v>100000</c:v>
                </c:pt>
                <c:pt idx="4">
                  <c:v>2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265-44AF-BB75-FEF7C99BCD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4863008"/>
        <c:axId val="1"/>
      </c:barChart>
      <c:catAx>
        <c:axId val="5748630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31687.242798353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748630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909998117115416E-3"/>
          <c:y val="3.0267753201396973E-2"/>
          <c:w val="0.98041800037657689"/>
          <c:h val="0.9394644935972060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D9E4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1400000</c:v>
                </c:pt>
                <c:pt idx="1">
                  <c:v>1500000</c:v>
                </c:pt>
                <c:pt idx="2">
                  <c:v>1600000</c:v>
                </c:pt>
                <c:pt idx="3">
                  <c:v>1400000</c:v>
                </c:pt>
                <c:pt idx="4">
                  <c:v>1700000</c:v>
                </c:pt>
                <c:pt idx="5">
                  <c:v>1800000</c:v>
                </c:pt>
                <c:pt idx="6">
                  <c:v>1400000</c:v>
                </c:pt>
                <c:pt idx="7">
                  <c:v>1900000</c:v>
                </c:pt>
                <c:pt idx="8">
                  <c:v>2000000</c:v>
                </c:pt>
                <c:pt idx="9">
                  <c:v>1400000</c:v>
                </c:pt>
                <c:pt idx="10">
                  <c:v>2100000</c:v>
                </c:pt>
                <c:pt idx="11">
                  <c:v>22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26-4393-8069-E0B96D662B1E}"/>
            </c:ext>
          </c:extLst>
        </c:ser>
        <c:ser>
          <c:idx val="1"/>
          <c:order val="1"/>
          <c:spPr>
            <a:solidFill>
              <a:srgbClr val="007770"/>
            </a:solidFill>
            <a:ln w="12700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L$2</c:f>
              <c:numCache>
                <c:formatCode>General</c:formatCode>
                <c:ptCount val="12"/>
                <c:pt idx="0">
                  <c:v>1400</c:v>
                </c:pt>
                <c:pt idx="1">
                  <c:v>1500</c:v>
                </c:pt>
                <c:pt idx="2">
                  <c:v>1600</c:v>
                </c:pt>
                <c:pt idx="3">
                  <c:v>1401</c:v>
                </c:pt>
                <c:pt idx="4">
                  <c:v>1700</c:v>
                </c:pt>
                <c:pt idx="5">
                  <c:v>1800</c:v>
                </c:pt>
                <c:pt idx="6">
                  <c:v>1402</c:v>
                </c:pt>
                <c:pt idx="7">
                  <c:v>1900</c:v>
                </c:pt>
                <c:pt idx="8">
                  <c:v>2000</c:v>
                </c:pt>
                <c:pt idx="9">
                  <c:v>1403</c:v>
                </c:pt>
                <c:pt idx="10">
                  <c:v>2100</c:v>
                </c:pt>
                <c:pt idx="11">
                  <c:v>2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26-4393-8069-E0B96D662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81341096"/>
        <c:axId val="1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026-4393-8069-E0B96D662B1E}"/>
              </c:ext>
            </c:extLst>
          </c:dPt>
          <c:dPt>
            <c:idx val="1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8026-4393-8069-E0B96D662B1E}"/>
              </c:ext>
            </c:extLst>
          </c:dPt>
          <c:dPt>
            <c:idx val="2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8026-4393-8069-E0B96D662B1E}"/>
              </c:ext>
            </c:extLst>
          </c:dPt>
          <c:dPt>
            <c:idx val="3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8026-4393-8069-E0B96D662B1E}"/>
              </c:ext>
            </c:extLst>
          </c:dPt>
          <c:dPt>
            <c:idx val="4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8026-4393-8069-E0B96D662B1E}"/>
              </c:ext>
            </c:extLst>
          </c:dPt>
          <c:dPt>
            <c:idx val="5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8026-4393-8069-E0B96D662B1E}"/>
              </c:ext>
            </c:extLst>
          </c:dPt>
          <c:dPt>
            <c:idx val="6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026-4393-8069-E0B96D662B1E}"/>
              </c:ext>
            </c:extLst>
          </c:dPt>
          <c:dPt>
            <c:idx val="7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8026-4393-8069-E0B96D662B1E}"/>
              </c:ext>
            </c:extLst>
          </c:dPt>
          <c:dPt>
            <c:idx val="8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8026-4393-8069-E0B96D662B1E}"/>
              </c:ext>
            </c:extLst>
          </c:dPt>
          <c:dPt>
            <c:idx val="9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8026-4393-8069-E0B96D662B1E}"/>
              </c:ext>
            </c:extLst>
          </c:dPt>
          <c:dPt>
            <c:idx val="10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8026-4393-8069-E0B96D662B1E}"/>
              </c:ext>
            </c:extLst>
          </c:dPt>
          <c:dPt>
            <c:idx val="11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8026-4393-8069-E0B96D662B1E}"/>
              </c:ext>
            </c:extLst>
          </c:dPt>
          <c:val>
            <c:numRef>
              <c:f>Sheet1!$A$3:$L$3</c:f>
              <c:numCache>
                <c:formatCode>General</c:formatCode>
                <c:ptCount val="12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8026-4393-8069-E0B96D662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2813410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7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281341096"/>
        <c:crosses val="min"/>
        <c:crossBetween val="between"/>
        <c:majorUnit val="500000"/>
      </c:valAx>
      <c:valAx>
        <c:axId val="2"/>
        <c:scaling>
          <c:orientation val="minMax"/>
          <c:max val="10"/>
          <c:min val="-4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7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1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909998117115416E-3"/>
          <c:y val="2.6262626262626262E-2"/>
          <c:w val="0.98041800037657689"/>
          <c:h val="0.947474747474747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D9E4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1400000</c:v>
                </c:pt>
                <c:pt idx="1">
                  <c:v>1500000</c:v>
                </c:pt>
                <c:pt idx="2">
                  <c:v>1600000</c:v>
                </c:pt>
                <c:pt idx="3">
                  <c:v>1700000</c:v>
                </c:pt>
                <c:pt idx="4">
                  <c:v>1800000</c:v>
                </c:pt>
                <c:pt idx="5">
                  <c:v>1900000</c:v>
                </c:pt>
                <c:pt idx="6">
                  <c:v>2000000</c:v>
                </c:pt>
                <c:pt idx="7">
                  <c:v>2100000</c:v>
                </c:pt>
                <c:pt idx="8">
                  <c:v>2200000</c:v>
                </c:pt>
                <c:pt idx="9">
                  <c:v>2300000</c:v>
                </c:pt>
                <c:pt idx="10">
                  <c:v>2400000</c:v>
                </c:pt>
                <c:pt idx="11">
                  <c:v>25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61-4A5E-818B-472D635B55A2}"/>
            </c:ext>
          </c:extLst>
        </c:ser>
        <c:ser>
          <c:idx val="1"/>
          <c:order val="1"/>
          <c:spPr>
            <a:solidFill>
              <a:srgbClr val="007770"/>
            </a:solidFill>
            <a:ln w="12700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L$2</c:f>
              <c:numCache>
                <c:formatCode>General</c:formatCode>
                <c:ptCount val="12"/>
                <c:pt idx="0">
                  <c:v>1400</c:v>
                </c:pt>
                <c:pt idx="1">
                  <c:v>50000</c:v>
                </c:pt>
                <c:pt idx="2">
                  <c:v>100000</c:v>
                </c:pt>
                <c:pt idx="3">
                  <c:v>150000</c:v>
                </c:pt>
                <c:pt idx="4">
                  <c:v>200000</c:v>
                </c:pt>
                <c:pt idx="5">
                  <c:v>250000</c:v>
                </c:pt>
                <c:pt idx="6">
                  <c:v>300000</c:v>
                </c:pt>
                <c:pt idx="7">
                  <c:v>350000</c:v>
                </c:pt>
                <c:pt idx="8">
                  <c:v>400000</c:v>
                </c:pt>
                <c:pt idx="9">
                  <c:v>450000</c:v>
                </c:pt>
                <c:pt idx="10">
                  <c:v>500000</c:v>
                </c:pt>
                <c:pt idx="11">
                  <c:v>55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B61-4A5E-818B-472D635B55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4838736"/>
        <c:axId val="1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AB61-4A5E-818B-472D635B55A2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AB61-4A5E-818B-472D635B55A2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AB61-4A5E-818B-472D635B55A2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AB61-4A5E-818B-472D635B55A2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AB61-4A5E-818B-472D635B55A2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AB61-4A5E-818B-472D635B55A2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AB61-4A5E-818B-472D635B55A2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AB61-4A5E-818B-472D635B55A2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AB61-4A5E-818B-472D635B55A2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AB61-4A5E-818B-472D635B55A2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AB61-4A5E-818B-472D635B55A2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AB61-4A5E-818B-472D635B55A2}"/>
              </c:ext>
            </c:extLst>
          </c:dPt>
          <c:val>
            <c:numRef>
              <c:f>Sheet1!$A$3:$L$3</c:f>
              <c:numCache>
                <c:formatCode>General</c:formatCode>
                <c:ptCount val="12"/>
                <c:pt idx="0">
                  <c:v>6.6000000000000005</c:v>
                </c:pt>
                <c:pt idx="1">
                  <c:v>6.6000000000000005</c:v>
                </c:pt>
                <c:pt idx="2">
                  <c:v>6.6000000000000005</c:v>
                </c:pt>
                <c:pt idx="3">
                  <c:v>6.6000000000000005</c:v>
                </c:pt>
                <c:pt idx="4">
                  <c:v>6.6000000000000005</c:v>
                </c:pt>
                <c:pt idx="5">
                  <c:v>6.6000000000000005</c:v>
                </c:pt>
                <c:pt idx="6">
                  <c:v>6.6000000000000005</c:v>
                </c:pt>
                <c:pt idx="7">
                  <c:v>6.6000000000000005</c:v>
                </c:pt>
                <c:pt idx="8">
                  <c:v>6.6000000000000005</c:v>
                </c:pt>
                <c:pt idx="9">
                  <c:v>6.6000000000000005</c:v>
                </c:pt>
                <c:pt idx="10">
                  <c:v>6.6000000000000005</c:v>
                </c:pt>
                <c:pt idx="11">
                  <c:v>6.6000000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AB61-4A5E-818B-472D635B55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5748387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2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574838736"/>
        <c:crosses val="min"/>
        <c:crossBetween val="between"/>
        <c:majorUnit val="200000"/>
      </c:valAx>
      <c:valAx>
        <c:axId val="2"/>
        <c:scaling>
          <c:orientation val="minMax"/>
          <c:max val="7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0.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909998117115416E-3"/>
          <c:y val="2.6262626262626262E-2"/>
          <c:w val="0.98041800037657689"/>
          <c:h val="0.947474747474747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D9E4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40000</c:v>
                </c:pt>
                <c:pt idx="1">
                  <c:v>50000</c:v>
                </c:pt>
                <c:pt idx="2">
                  <c:v>60000</c:v>
                </c:pt>
                <c:pt idx="3">
                  <c:v>70000</c:v>
                </c:pt>
                <c:pt idx="4">
                  <c:v>80000</c:v>
                </c:pt>
                <c:pt idx="5">
                  <c:v>90000</c:v>
                </c:pt>
                <c:pt idx="6">
                  <c:v>100000</c:v>
                </c:pt>
                <c:pt idx="7">
                  <c:v>110000</c:v>
                </c:pt>
                <c:pt idx="8">
                  <c:v>120000</c:v>
                </c:pt>
                <c:pt idx="9">
                  <c:v>130000</c:v>
                </c:pt>
                <c:pt idx="10">
                  <c:v>140000</c:v>
                </c:pt>
                <c:pt idx="11">
                  <c:v>15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3C-4EA7-8533-AF7D6374B1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0424200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513C-4EA7-8533-AF7D6374B162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513C-4EA7-8533-AF7D6374B162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513C-4EA7-8533-AF7D6374B162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513C-4EA7-8533-AF7D6374B162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513C-4EA7-8533-AF7D6374B162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513C-4EA7-8533-AF7D6374B162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513C-4EA7-8533-AF7D6374B162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513C-4EA7-8533-AF7D6374B162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513C-4EA7-8533-AF7D6374B162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513C-4EA7-8533-AF7D6374B162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513C-4EA7-8533-AF7D6374B162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513C-4EA7-8533-AF7D6374B162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0.1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.0000000000000009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513C-4EA7-8533-AF7D6374B1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4404242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5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440424200"/>
        <c:crosses val="min"/>
        <c:crossBetween val="between"/>
        <c:majorUnit val="50000"/>
      </c:valAx>
      <c:valAx>
        <c:axId val="2"/>
        <c:scaling>
          <c:orientation val="minMax"/>
          <c:max val="11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1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854723372224322E-3"/>
          <c:y val="2.5316455696202531E-2"/>
          <c:w val="0.98042905532555513"/>
          <c:h val="0.9493670886075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 w="3175" algn="ctr">
              <a:solidFill>
                <a:srgbClr val="026F4E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35802</c:v>
                </c:pt>
                <c:pt idx="1">
                  <c:v>45076</c:v>
                </c:pt>
                <c:pt idx="2">
                  <c:v>120826</c:v>
                </c:pt>
                <c:pt idx="3">
                  <c:v>145500</c:v>
                </c:pt>
                <c:pt idx="4">
                  <c:v>185500</c:v>
                </c:pt>
                <c:pt idx="5">
                  <c:v>253500</c:v>
                </c:pt>
                <c:pt idx="6">
                  <c:v>314641</c:v>
                </c:pt>
                <c:pt idx="7">
                  <c:v>425500</c:v>
                </c:pt>
                <c:pt idx="8">
                  <c:v>496600</c:v>
                </c:pt>
                <c:pt idx="9">
                  <c:v>582300</c:v>
                </c:pt>
                <c:pt idx="10">
                  <c:v>626900</c:v>
                </c:pt>
                <c:pt idx="11">
                  <c:v>693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62-4021-93AE-F669FCB348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50076736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FF62-4021-93AE-F669FCB34834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FF62-4021-93AE-F669FCB34834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FF62-4021-93AE-F669FCB34834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FF62-4021-93AE-F669FCB34834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FF62-4021-93AE-F669FCB34834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FF62-4021-93AE-F669FCB34834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FF62-4021-93AE-F669FCB34834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FF62-4021-93AE-F669FCB34834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FF62-4021-93AE-F669FCB34834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FF62-4021-93AE-F669FCB34834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FF62-4021-93AE-F669FCB34834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FF62-4021-93AE-F669FCB34834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3.3000000000000003</c:v>
                </c:pt>
                <c:pt idx="1">
                  <c:v>4.3</c:v>
                </c:pt>
                <c:pt idx="2">
                  <c:v>8.3000000000000007</c:v>
                </c:pt>
                <c:pt idx="3">
                  <c:v>6.5</c:v>
                </c:pt>
                <c:pt idx="4">
                  <c:v>7.0000000000000009</c:v>
                </c:pt>
                <c:pt idx="5">
                  <c:v>7.1</c:v>
                </c:pt>
                <c:pt idx="6">
                  <c:v>6.6000000000000005</c:v>
                </c:pt>
                <c:pt idx="7">
                  <c:v>5.6000000000000005</c:v>
                </c:pt>
                <c:pt idx="8">
                  <c:v>5.4</c:v>
                </c:pt>
                <c:pt idx="9">
                  <c:v>5.5</c:v>
                </c:pt>
                <c:pt idx="10">
                  <c:v>5.3</c:v>
                </c:pt>
                <c:pt idx="11">
                  <c:v>5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FF62-4021-93AE-F669FCB348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11500767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1150076736"/>
        <c:crosses val="min"/>
        <c:crossBetween val="between"/>
      </c:valAx>
      <c:valAx>
        <c:axId val="2"/>
        <c:scaling>
          <c:orientation val="minMax"/>
          <c:max val="9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1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743119266055051E-3"/>
          <c:y val="2.8337874659400547E-2"/>
          <c:w val="0.9816513761467891"/>
          <c:h val="0.9433242506811989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B56-439C-9324-331DDDB5A9FA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B56-439C-9324-331DDDB5A9FA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3612038.5232744794</c:v>
                </c:pt>
                <c:pt idx="1">
                  <c:v>3112038.5232744794</c:v>
                </c:pt>
                <c:pt idx="3">
                  <c:v>2312038.5232744794</c:v>
                </c:pt>
                <c:pt idx="4">
                  <c:v>2312038.5232744794</c:v>
                </c:pt>
                <c:pt idx="5">
                  <c:v>2352038.52327447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B56-439C-9324-331DDDB5A9FA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B56-439C-9324-331DDDB5A9FA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500000</c:v>
                </c:pt>
                <c:pt idx="3">
                  <c:v>800000</c:v>
                </c:pt>
                <c:pt idx="4">
                  <c:v>4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B56-439C-9324-331DDDB5A9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66754744"/>
        <c:axId val="1"/>
      </c:barChart>
      <c:catAx>
        <c:axId val="6667547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12038.523274479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667547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195386702849387E-3"/>
          <c:y val="3.1325301204819279E-2"/>
          <c:w val="0.98236092265943009"/>
          <c:h val="0.9373493975903615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9E9-4834-824A-806AD1F14257}"/>
              </c:ext>
            </c:extLst>
          </c:dPt>
          <c:dPt>
            <c:idx val="5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9E9-4834-824A-806AD1F14257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1389285.7142857141</c:v>
                </c:pt>
                <c:pt idx="1">
                  <c:v>989285.71428571409</c:v>
                </c:pt>
                <c:pt idx="3">
                  <c:v>889285.71428571409</c:v>
                </c:pt>
                <c:pt idx="4">
                  <c:v>889285.71428571409</c:v>
                </c:pt>
                <c:pt idx="5">
                  <c:v>939285.71428571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E9-4834-824A-806AD1F14257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008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9E9-4834-824A-806AD1F14257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400000</c:v>
                </c:pt>
                <c:pt idx="3">
                  <c:v>100000</c:v>
                </c:pt>
                <c:pt idx="4">
                  <c:v>5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9E9-4834-824A-806AD1F142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68700008"/>
        <c:axId val="1"/>
      </c:barChart>
      <c:catAx>
        <c:axId val="5687000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89285.714285714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687000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316386121607704E-3"/>
          <c:y val="2.838427947598253E-2"/>
          <c:w val="0.98213672277567854"/>
          <c:h val="0.9432314410480349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C0D-43BB-9E34-C4C97A286A7F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C0D-43BB-9E34-C4C97A286A7F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180753.138075314</c:v>
                </c:pt>
                <c:pt idx="1">
                  <c:v>130753.138075314</c:v>
                </c:pt>
                <c:pt idx="2">
                  <c:v>130753.138075314</c:v>
                </c:pt>
                <c:pt idx="3">
                  <c:v>160753.1380753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0D-43BB-9E34-C4C97A286A7F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C0D-43BB-9E34-C4C97A286A7F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1">
                  <c:v>50000</c:v>
                </c:pt>
                <c:pt idx="2">
                  <c:v>3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0D-43BB-9E34-C4C97A286A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666767536"/>
        <c:axId val="1"/>
      </c:barChart>
      <c:catAx>
        <c:axId val="6667675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0753.13807531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667675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909998117115416E-3"/>
          <c:y val="2.6262626262626262E-2"/>
          <c:w val="0.98041800037657689"/>
          <c:h val="0.947474747474747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D9E4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100000</c:v>
                </c:pt>
                <c:pt idx="1">
                  <c:v>200000</c:v>
                </c:pt>
                <c:pt idx="2">
                  <c:v>300000</c:v>
                </c:pt>
                <c:pt idx="3">
                  <c:v>400000</c:v>
                </c:pt>
                <c:pt idx="4">
                  <c:v>500000</c:v>
                </c:pt>
                <c:pt idx="5">
                  <c:v>600000</c:v>
                </c:pt>
                <c:pt idx="6">
                  <c:v>700000</c:v>
                </c:pt>
                <c:pt idx="7">
                  <c:v>800000</c:v>
                </c:pt>
                <c:pt idx="8">
                  <c:v>900000</c:v>
                </c:pt>
                <c:pt idx="9">
                  <c:v>1000000</c:v>
                </c:pt>
                <c:pt idx="10">
                  <c:v>1100000</c:v>
                </c:pt>
                <c:pt idx="11">
                  <c:v>12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CF-4698-9350-BEEE96B07068}"/>
            </c:ext>
          </c:extLst>
        </c:ser>
        <c:ser>
          <c:idx val="1"/>
          <c:order val="1"/>
          <c:spPr>
            <a:solidFill>
              <a:srgbClr val="007770"/>
            </a:solidFill>
            <a:ln w="12700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L$2</c:f>
              <c:numCache>
                <c:formatCode>General</c:formatCode>
                <c:ptCount val="12"/>
                <c:pt idx="0">
                  <c:v>1000</c:v>
                </c:pt>
                <c:pt idx="1">
                  <c:v>2000</c:v>
                </c:pt>
                <c:pt idx="2">
                  <c:v>3000</c:v>
                </c:pt>
                <c:pt idx="3">
                  <c:v>4000</c:v>
                </c:pt>
                <c:pt idx="4">
                  <c:v>5000</c:v>
                </c:pt>
                <c:pt idx="5">
                  <c:v>6000</c:v>
                </c:pt>
                <c:pt idx="6">
                  <c:v>7000</c:v>
                </c:pt>
                <c:pt idx="7">
                  <c:v>8000</c:v>
                </c:pt>
                <c:pt idx="8">
                  <c:v>9000</c:v>
                </c:pt>
                <c:pt idx="9">
                  <c:v>10000</c:v>
                </c:pt>
                <c:pt idx="10">
                  <c:v>11000</c:v>
                </c:pt>
                <c:pt idx="11">
                  <c:v>1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CF-4698-9350-BEEE96B070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66796072"/>
        <c:axId val="1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03CF-4698-9350-BEEE96B07068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03CF-4698-9350-BEEE96B07068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3CF-4698-9350-BEEE96B07068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03CF-4698-9350-BEEE96B07068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03CF-4698-9350-BEEE96B07068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03CF-4698-9350-BEEE96B07068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03CF-4698-9350-BEEE96B07068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03CF-4698-9350-BEEE96B07068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03CF-4698-9350-BEEE96B07068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03CF-4698-9350-BEEE96B07068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03CF-4698-9350-BEEE96B07068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03CF-4698-9350-BEEE96B07068}"/>
              </c:ext>
            </c:extLst>
          </c:dPt>
          <c:val>
            <c:numRef>
              <c:f>Sheet1!$A$3:$L$3</c:f>
              <c:numCache>
                <c:formatCode>General</c:formatCode>
                <c:ptCount val="12"/>
                <c:pt idx="0">
                  <c:v>20.100000000000001</c:v>
                </c:pt>
                <c:pt idx="1">
                  <c:v>20.200000000000003</c:v>
                </c:pt>
                <c:pt idx="2">
                  <c:v>20.3</c:v>
                </c:pt>
                <c:pt idx="3">
                  <c:v>20.399999999999999</c:v>
                </c:pt>
                <c:pt idx="4">
                  <c:v>20.5</c:v>
                </c:pt>
                <c:pt idx="5">
                  <c:v>20.599999999999998</c:v>
                </c:pt>
                <c:pt idx="6">
                  <c:v>20.7</c:v>
                </c:pt>
                <c:pt idx="7">
                  <c:v>20.8</c:v>
                </c:pt>
                <c:pt idx="8">
                  <c:v>20.9</c:v>
                </c:pt>
                <c:pt idx="9">
                  <c:v>21</c:v>
                </c:pt>
                <c:pt idx="10">
                  <c:v>21.099999999999998</c:v>
                </c:pt>
                <c:pt idx="11">
                  <c:v>21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03CF-4698-9350-BEEE96B070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6667960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666796072"/>
        <c:crosses val="min"/>
        <c:crossBetween val="between"/>
        <c:majorUnit val="100000"/>
      </c:valAx>
      <c:valAx>
        <c:axId val="2"/>
        <c:scaling>
          <c:orientation val="minMax"/>
          <c:max val="22"/>
          <c:min val="-8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2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022837997470204"/>
          <c:y val="7.6324624035839214E-2"/>
          <c:w val="0.87690155481656074"/>
          <c:h val="0.755885761064866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 66</c:v>
                </c:pt>
              </c:strCache>
            </c:strRef>
          </c:tx>
          <c:spPr>
            <a:ln w="28575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B$2:$B$22</c:f>
            </c:numRef>
          </c:val>
          <c:smooth val="0"/>
          <c:extLst>
            <c:ext xmlns:c16="http://schemas.microsoft.com/office/drawing/2014/chart" uri="{C3380CC4-5D6E-409C-BE32-E72D297353CC}">
              <c16:uniqueId val="{00000000-005F-4FC3-9341-233FF2A7A8B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 67</c:v>
                </c:pt>
              </c:strCache>
            </c:strRef>
          </c:tx>
          <c:spPr>
            <a:ln w="28575">
              <a:solidFill>
                <a:srgbClr val="0070C0"/>
              </a:solidFill>
              <a:prstDash val="solid"/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C$2:$C$22</c:f>
            </c:numRef>
          </c:val>
          <c:smooth val="0"/>
          <c:extLst>
            <c:ext xmlns:c16="http://schemas.microsoft.com/office/drawing/2014/chart" uri="{C3380CC4-5D6E-409C-BE32-E72D297353CC}">
              <c16:uniqueId val="{00000001-005F-4FC3-9341-233FF2A7A8B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R69 OP</c:v>
                </c:pt>
              </c:strCache>
            </c:strRef>
          </c:tx>
          <c:spPr>
            <a:ln w="28575">
              <a:solidFill>
                <a:srgbClr val="C00000"/>
              </a:solidFill>
              <a:prstDash val="solid"/>
            </a:ln>
          </c:spPr>
          <c:marker>
            <c:symbol val="none"/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005F-4FC3-9341-233FF2A7A8B8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3-005F-4FC3-9341-233FF2A7A8B8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05F-4FC3-9341-233FF2A7A8B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05F-4FC3-9341-233FF2A7A8B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05F-4FC3-9341-233FF2A7A8B8}"/>
                </c:ext>
              </c:extLst>
            </c:dLbl>
            <c:dLbl>
              <c:idx val="3"/>
              <c:layout>
                <c:manualLayout>
                  <c:x val="-3.0438360323078031E-2"/>
                  <c:y val="2.56306631530458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05F-4FC3-9341-233FF2A7A8B8}"/>
                </c:ext>
              </c:extLst>
            </c:dLbl>
            <c:dLbl>
              <c:idx val="4"/>
              <c:layout>
                <c:manualLayout>
                  <c:x val="-2.4640577404396499E-2"/>
                  <c:y val="3.21588637771175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05F-4FC3-9341-233FF2A7A8B8}"/>
                </c:ext>
              </c:extLst>
            </c:dLbl>
            <c:dLbl>
              <c:idx val="5"/>
              <c:layout>
                <c:manualLayout>
                  <c:x val="-3.0438360323078083E-2"/>
                  <c:y val="3.20383289413072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05F-4FC3-9341-233FF2A7A8B8}"/>
                </c:ext>
              </c:extLst>
            </c:dLbl>
            <c:dLbl>
              <c:idx val="6"/>
              <c:layout>
                <c:manualLayout>
                  <c:x val="-2.1741685945055843E-2"/>
                  <c:y val="2.2426830258915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05F-4FC3-9341-233FF2A7A8B8}"/>
                </c:ext>
              </c:extLst>
            </c:dLbl>
            <c:dLbl>
              <c:idx val="7"/>
              <c:layout>
                <c:manualLayout>
                  <c:x val="-2.4640577404396607E-2"/>
                  <c:y val="2.2426830258915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05F-4FC3-9341-233FF2A7A8B8}"/>
                </c:ext>
              </c:extLst>
            </c:dLbl>
            <c:dLbl>
              <c:idx val="8"/>
              <c:layout>
                <c:manualLayout>
                  <c:x val="-2.3191131674726119E-2"/>
                  <c:y val="2.88344960471765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005F-4FC3-9341-233FF2A7A8B8}"/>
                </c:ext>
              </c:extLst>
            </c:dLbl>
            <c:dLbl>
              <c:idx val="13"/>
              <c:layout>
                <c:manualLayout>
                  <c:x val="-1.06321066839828E-16"/>
                  <c:y val="2.5306870715765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9B1-4E94-9B85-2F0B207846C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D$2:$D$22</c:f>
              <c:numCache>
                <c:formatCode>_(* #,##0_);_(* \(#,##0\);_(* "-"??_);_(@_)</c:formatCode>
                <c:ptCount val="14"/>
                <c:pt idx="0">
                  <c:v>554.68799999999999</c:v>
                </c:pt>
                <c:pt idx="1">
                  <c:v>1009.194</c:v>
                </c:pt>
                <c:pt idx="2">
                  <c:v>1071.1600000000001</c:v>
                </c:pt>
                <c:pt idx="3">
                  <c:v>1050</c:v>
                </c:pt>
                <c:pt idx="4">
                  <c:v>1460</c:v>
                </c:pt>
                <c:pt idx="5">
                  <c:v>2240</c:v>
                </c:pt>
                <c:pt idx="6">
                  <c:v>2640</c:v>
                </c:pt>
                <c:pt idx="7">
                  <c:v>3560</c:v>
                </c:pt>
                <c:pt idx="8">
                  <c:v>4750</c:v>
                </c:pt>
                <c:pt idx="9">
                  <c:v>7556.9740000000002</c:v>
                </c:pt>
                <c:pt idx="10">
                  <c:v>9146.0930000000008</c:v>
                </c:pt>
                <c:pt idx="11">
                  <c:v>10582.537</c:v>
                </c:pt>
                <c:pt idx="12">
                  <c:v>11811.236999999999</c:v>
                </c:pt>
                <c:pt idx="13">
                  <c:v>13085.3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005F-4FC3-9341-233FF2A7A8B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69 SP</c:v>
                </c:pt>
              </c:strCache>
            </c:strRef>
          </c:tx>
          <c:spPr>
            <a:ln w="28575">
              <a:solidFill>
                <a:srgbClr val="003366"/>
              </a:solidFill>
              <a:prstDash val="solid"/>
            </a:ln>
          </c:spPr>
          <c:marker>
            <c:symbol val="none"/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C-005F-4FC3-9341-233FF2A7A8B8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D-005F-4FC3-9341-233FF2A7A8B8}"/>
              </c:ext>
            </c:extLst>
          </c:dPt>
          <c:dLbls>
            <c:dLbl>
              <c:idx val="3"/>
              <c:layout>
                <c:manualLayout>
                  <c:x val="-4.6395183303213808E-2"/>
                  <c:y val="-2.89221379608754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005F-4FC3-9341-233FF2A7A8B8}"/>
                </c:ext>
              </c:extLst>
            </c:dLbl>
            <c:dLbl>
              <c:idx val="4"/>
              <c:layout>
                <c:manualLayout>
                  <c:x val="-4.493117781433479E-2"/>
                  <c:y val="-3.65756871854434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005F-4FC3-9341-233FF2A7A8B8}"/>
                </c:ext>
              </c:extLst>
            </c:dLbl>
            <c:dLbl>
              <c:idx val="5"/>
              <c:layout>
                <c:manualLayout>
                  <c:x val="-5.0730575727236507E-2"/>
                  <c:y val="-3.34924620254605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005F-4FC3-9341-233FF2A7A8B8}"/>
                </c:ext>
              </c:extLst>
            </c:dLbl>
            <c:dLbl>
              <c:idx val="6"/>
              <c:layout>
                <c:manualLayout>
                  <c:x val="-3.9144337652819272E-2"/>
                  <c:y val="-3.20053631208580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005F-4FC3-9341-233FF2A7A8B8}"/>
                </c:ext>
              </c:extLst>
            </c:dLbl>
            <c:dLbl>
              <c:idx val="7"/>
              <c:layout>
                <c:manualLayout>
                  <c:x val="-3.0446839042734028E-2"/>
                  <c:y val="-3.9767939696203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005F-4FC3-9341-233FF2A7A8B8}"/>
                </c:ext>
              </c:extLst>
            </c:dLbl>
            <c:dLbl>
              <c:idx val="8"/>
              <c:layout>
                <c:manualLayout>
                  <c:x val="-3.4796387477410422E-2"/>
                  <c:y val="-3.97679396962036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005F-4FC3-9341-233FF2A7A8B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E$2:$E$22</c:f>
              <c:numCache>
                <c:formatCode>_(* #,##0_);_(* \(#,##0\);_(* "-"??_);_(@_)</c:formatCode>
                <c:ptCount val="14"/>
                <c:pt idx="0">
                  <c:v>554.68799999999999</c:v>
                </c:pt>
                <c:pt idx="1">
                  <c:v>1009.194</c:v>
                </c:pt>
                <c:pt idx="2">
                  <c:v>1071.1600000000001</c:v>
                </c:pt>
                <c:pt idx="3">
                  <c:v>1941.998</c:v>
                </c:pt>
                <c:pt idx="4">
                  <c:v>2218.3249999999998</c:v>
                </c:pt>
                <c:pt idx="5">
                  <c:v>2600.3560000000002</c:v>
                </c:pt>
                <c:pt idx="6">
                  <c:v>3436.625</c:v>
                </c:pt>
                <c:pt idx="7">
                  <c:v>4410.9880000000003</c:v>
                </c:pt>
                <c:pt idx="8">
                  <c:v>5843.8469999999998</c:v>
                </c:pt>
                <c:pt idx="9">
                  <c:v>7556.9740000000002</c:v>
                </c:pt>
                <c:pt idx="10">
                  <c:v>9146.0930000000008</c:v>
                </c:pt>
                <c:pt idx="11">
                  <c:v>10582.537</c:v>
                </c:pt>
                <c:pt idx="12">
                  <c:v>11811.236999999999</c:v>
                </c:pt>
                <c:pt idx="13">
                  <c:v>13085.3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005F-4FC3-9341-233FF2A7A8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4931072"/>
        <c:axId val="124936960"/>
      </c:lineChart>
      <c:catAx>
        <c:axId val="124931072"/>
        <c:scaling>
          <c:orientation val="minMax"/>
        </c:scaling>
        <c:delete val="1"/>
        <c:axPos val="b"/>
        <c:numFmt formatCode="0," sourceLinked="0"/>
        <c:majorTickMark val="out"/>
        <c:minorTickMark val="none"/>
        <c:tickLblPos val="nextTo"/>
        <c:crossAx val="124936960"/>
        <c:crosses val="autoZero"/>
        <c:auto val="1"/>
        <c:lblAlgn val="ctr"/>
        <c:lblOffset val="100"/>
        <c:noMultiLvlLbl val="0"/>
      </c:catAx>
      <c:valAx>
        <c:axId val="124936960"/>
        <c:scaling>
          <c:orientation val="minMax"/>
        </c:scaling>
        <c:delete val="0"/>
        <c:axPos val="l"/>
        <c:numFmt formatCode="#,##0," sourceLinked="0"/>
        <c:majorTickMark val="out"/>
        <c:minorTickMark val="none"/>
        <c:tickLblPos val="nextTo"/>
        <c:crossAx val="124931072"/>
        <c:crosses val="autoZero"/>
        <c:crossBetween val="between"/>
      </c:valAx>
      <c:dTable>
        <c:showHorzBorder val="1"/>
        <c:showVertBorder val="1"/>
        <c:showOutline val="1"/>
        <c:showKeys val="0"/>
        <c:txPr>
          <a:bodyPr/>
          <a:lstStyle/>
          <a:p>
            <a:pPr rtl="0">
              <a:defRPr sz="900"/>
            </a:pPr>
            <a:endParaRPr lang="en-US"/>
          </a:p>
        </c:txPr>
      </c:dTable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800">
          <a:latin typeface="VWAG TheSans" panose="020B0502050302020203" pitchFamily="34" charset="0"/>
        </a:defRPr>
      </a:pPr>
      <a:endParaRPr lang="en-US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854723372224322E-3"/>
          <c:y val="2.5316455696202531E-2"/>
          <c:w val="0.98042905532555513"/>
          <c:h val="0.9493670886075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 w="3175" algn="ctr">
              <a:solidFill>
                <a:srgbClr val="026F4E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1000</c:v>
                </c:pt>
                <c:pt idx="1">
                  <c:v>10000</c:v>
                </c:pt>
                <c:pt idx="2">
                  <c:v>15000</c:v>
                </c:pt>
                <c:pt idx="3">
                  <c:v>20000</c:v>
                </c:pt>
                <c:pt idx="4">
                  <c:v>25000</c:v>
                </c:pt>
                <c:pt idx="5">
                  <c:v>30000</c:v>
                </c:pt>
                <c:pt idx="6">
                  <c:v>35000</c:v>
                </c:pt>
                <c:pt idx="7">
                  <c:v>40000</c:v>
                </c:pt>
                <c:pt idx="8">
                  <c:v>45000</c:v>
                </c:pt>
                <c:pt idx="9">
                  <c:v>50000</c:v>
                </c:pt>
                <c:pt idx="10">
                  <c:v>55000</c:v>
                </c:pt>
                <c:pt idx="11">
                  <c:v>6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E3-4820-A710-47E1A67810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7368960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9E3-4820-A710-47E1A678100F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B9E3-4820-A710-47E1A678100F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B9E3-4820-A710-47E1A678100F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B9E3-4820-A710-47E1A678100F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B9E3-4820-A710-47E1A678100F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B9E3-4820-A710-47E1A678100F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B9E3-4820-A710-47E1A678100F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B9E3-4820-A710-47E1A678100F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B9E3-4820-A710-47E1A678100F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B9E3-4820-A710-47E1A678100F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B9E3-4820-A710-47E1A678100F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B9E3-4820-A710-47E1A678100F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.0000000000000009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B9E3-4820-A710-47E1A67810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5773689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577368960"/>
        <c:crosses val="min"/>
        <c:crossBetween val="between"/>
      </c:valAx>
      <c:valAx>
        <c:axId val="2"/>
        <c:scaling>
          <c:orientation val="minMax"/>
          <c:max val="25"/>
          <c:min val="-2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743119266055051E-3"/>
          <c:y val="2.8337874659400547E-2"/>
          <c:w val="0.9816513761467891"/>
          <c:h val="0.9433242506811989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42D-44FD-92CE-CD4897159BCF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42D-44FD-92CE-CD4897159BCF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325205.29343653377</c:v>
                </c:pt>
                <c:pt idx="1">
                  <c:v>325205.29343653377</c:v>
                </c:pt>
                <c:pt idx="2">
                  <c:v>282658.83343653381</c:v>
                </c:pt>
                <c:pt idx="3">
                  <c:v>282658.83343653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42D-44FD-92CE-CD4897159BCF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42D-44FD-92CE-CD4897159BCF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1">
                  <c:v>22296.44000000041</c:v>
                </c:pt>
                <c:pt idx="2">
                  <c:v>64842.900000000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42D-44FD-92CE-CD4897159B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12558120"/>
        <c:axId val="1"/>
      </c:barChart>
      <c:catAx>
        <c:axId val="7125581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7501.7334365341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25581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935856992639326E-2"/>
          <c:y val="2.7762947143619859E-2"/>
          <c:w val="0.97812828601472124"/>
          <c:h val="0.94447410571276025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DFC0-495C-AC33-95AA2520981E}"/>
              </c:ext>
            </c:extLst>
          </c:dPt>
          <c:dPt>
            <c:idx val="3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DFC0-495C-AC33-95AA2520981E}"/>
              </c:ext>
            </c:extLst>
          </c:dPt>
          <c:dPt>
            <c:idx val="6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DFC0-495C-AC33-95AA2520981E}"/>
              </c:ext>
            </c:extLst>
          </c:dPt>
          <c:dPt>
            <c:idx val="9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DFC0-495C-AC33-95AA2520981E}"/>
              </c:ext>
            </c:extLst>
          </c:dPt>
          <c:dPt>
            <c:idx val="12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DFC0-495C-AC33-95AA2520981E}"/>
              </c:ext>
            </c:extLst>
          </c:dPt>
          <c:dPt>
            <c:idx val="15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DFC0-495C-AC33-95AA2520981E}"/>
              </c:ext>
            </c:extLst>
          </c:dPt>
          <c:dPt>
            <c:idx val="18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DFC0-495C-AC33-95AA2520981E}"/>
              </c:ext>
            </c:extLst>
          </c:dPt>
          <c:dPt>
            <c:idx val="21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DFC0-495C-AC33-95AA2520981E}"/>
              </c:ext>
            </c:extLst>
          </c:dPt>
          <c:dPt>
            <c:idx val="24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DFC0-495C-AC33-95AA2520981E}"/>
              </c:ext>
            </c:extLst>
          </c:dPt>
          <c:dPt>
            <c:idx val="27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DFC0-495C-AC33-95AA2520981E}"/>
              </c:ext>
            </c:extLst>
          </c:dPt>
          <c:dPt>
            <c:idx val="30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DFC0-495C-AC33-95AA2520981E}"/>
              </c:ext>
            </c:extLst>
          </c:dPt>
          <c:dPt>
            <c:idx val="33"/>
            <c:invertIfNegative val="0"/>
            <c:bubble3D val="0"/>
            <c:spPr>
              <a:solidFill>
                <a:srgbClr val="D6D7D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DFC0-495C-AC33-95AA2520981E}"/>
              </c:ext>
            </c:extLst>
          </c:dPt>
          <c:val>
            <c:numRef>
              <c:f>Sheet1!$A$1:$AH$1</c:f>
              <c:numCache>
                <c:formatCode>General</c:formatCode>
                <c:ptCount val="34"/>
                <c:pt idx="0">
                  <c:v>20194445</c:v>
                </c:pt>
                <c:pt idx="2">
                  <c:v>19758002</c:v>
                </c:pt>
                <c:pt idx="3">
                  <c:v>17950000</c:v>
                </c:pt>
                <c:pt idx="5">
                  <c:v>19781675</c:v>
                </c:pt>
                <c:pt idx="6">
                  <c:v>19740000</c:v>
                </c:pt>
                <c:pt idx="8">
                  <c:v>19899644</c:v>
                </c:pt>
                <c:pt idx="9">
                  <c:v>20260000</c:v>
                </c:pt>
                <c:pt idx="11">
                  <c:v>19963375</c:v>
                </c:pt>
                <c:pt idx="12">
                  <c:v>20760025</c:v>
                </c:pt>
                <c:pt idx="14">
                  <c:v>20089013</c:v>
                </c:pt>
                <c:pt idx="15">
                  <c:v>20939990</c:v>
                </c:pt>
                <c:pt idx="17">
                  <c:v>19956153</c:v>
                </c:pt>
                <c:pt idx="18">
                  <c:v>21050135</c:v>
                </c:pt>
                <c:pt idx="20">
                  <c:v>19543026</c:v>
                </c:pt>
                <c:pt idx="21">
                  <c:v>19543026</c:v>
                </c:pt>
                <c:pt idx="23">
                  <c:v>19153907</c:v>
                </c:pt>
                <c:pt idx="24">
                  <c:v>19153907</c:v>
                </c:pt>
                <c:pt idx="26">
                  <c:v>18617463</c:v>
                </c:pt>
                <c:pt idx="27">
                  <c:v>18617463</c:v>
                </c:pt>
                <c:pt idx="29">
                  <c:v>18188763</c:v>
                </c:pt>
                <c:pt idx="30">
                  <c:v>18188763</c:v>
                </c:pt>
                <c:pt idx="32">
                  <c:v>17414607</c:v>
                </c:pt>
                <c:pt idx="33">
                  <c:v>174146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FC0-495C-AC33-95AA2520981E}"/>
            </c:ext>
          </c:extLst>
        </c:ser>
        <c:ser>
          <c:idx val="1"/>
          <c:order val="1"/>
          <c:spPr>
            <a:solidFill>
              <a:srgbClr val="E3EFF8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DFC0-495C-AC33-95AA2520981E}"/>
              </c:ext>
            </c:extLst>
          </c:dPt>
          <c:dPt>
            <c:idx val="5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DFC0-495C-AC33-95AA2520981E}"/>
              </c:ext>
            </c:extLst>
          </c:dPt>
          <c:dPt>
            <c:idx val="8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DFC0-495C-AC33-95AA2520981E}"/>
              </c:ext>
            </c:extLst>
          </c:dPt>
          <c:dPt>
            <c:idx val="11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DFC0-495C-AC33-95AA2520981E}"/>
              </c:ext>
            </c:extLst>
          </c:dPt>
          <c:dPt>
            <c:idx val="14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DFC0-495C-AC33-95AA2520981E}"/>
              </c:ext>
            </c:extLst>
          </c:dPt>
          <c:dPt>
            <c:idx val="17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2-DFC0-495C-AC33-95AA2520981E}"/>
              </c:ext>
            </c:extLst>
          </c:dPt>
          <c:dPt>
            <c:idx val="20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DFC0-495C-AC33-95AA2520981E}"/>
              </c:ext>
            </c:extLst>
          </c:dPt>
          <c:dPt>
            <c:idx val="23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DFC0-495C-AC33-95AA2520981E}"/>
              </c:ext>
            </c:extLst>
          </c:dPt>
          <c:dPt>
            <c:idx val="26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DFC0-495C-AC33-95AA2520981E}"/>
              </c:ext>
            </c:extLst>
          </c:dPt>
          <c:dPt>
            <c:idx val="29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6-DFC0-495C-AC33-95AA2520981E}"/>
              </c:ext>
            </c:extLst>
          </c:dPt>
          <c:dPt>
            <c:idx val="32"/>
            <c:invertIfNegative val="0"/>
            <c:bubble3D val="0"/>
            <c:spPr>
              <a:noFill/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DFC0-495C-AC33-95AA2520981E}"/>
              </c:ext>
            </c:extLst>
          </c:dPt>
          <c:val>
            <c:numRef>
              <c:f>Sheet1!$A$2:$AH$2</c:f>
              <c:numCache>
                <c:formatCode>General</c:formatCode>
                <c:ptCount val="34"/>
                <c:pt idx="0">
                  <c:v>1078619</c:v>
                </c:pt>
                <c:pt idx="2">
                  <c:v>1941998</c:v>
                </c:pt>
                <c:pt idx="3">
                  <c:v>1050000</c:v>
                </c:pt>
                <c:pt idx="5">
                  <c:v>2218325</c:v>
                </c:pt>
                <c:pt idx="6">
                  <c:v>1460000</c:v>
                </c:pt>
                <c:pt idx="8">
                  <c:v>2600356</c:v>
                </c:pt>
                <c:pt idx="9">
                  <c:v>2240000</c:v>
                </c:pt>
                <c:pt idx="11">
                  <c:v>3436625</c:v>
                </c:pt>
                <c:pt idx="12">
                  <c:v>2639975</c:v>
                </c:pt>
                <c:pt idx="14">
                  <c:v>4410987</c:v>
                </c:pt>
                <c:pt idx="15">
                  <c:v>3560010</c:v>
                </c:pt>
                <c:pt idx="17">
                  <c:v>5843847</c:v>
                </c:pt>
                <c:pt idx="18">
                  <c:v>4749865</c:v>
                </c:pt>
                <c:pt idx="20">
                  <c:v>7556974</c:v>
                </c:pt>
                <c:pt idx="21">
                  <c:v>7556974</c:v>
                </c:pt>
                <c:pt idx="23">
                  <c:v>9146093</c:v>
                </c:pt>
                <c:pt idx="24">
                  <c:v>9146093</c:v>
                </c:pt>
                <c:pt idx="26">
                  <c:v>10582537</c:v>
                </c:pt>
                <c:pt idx="27">
                  <c:v>10582537</c:v>
                </c:pt>
                <c:pt idx="29">
                  <c:v>11811237</c:v>
                </c:pt>
                <c:pt idx="30">
                  <c:v>11811237</c:v>
                </c:pt>
                <c:pt idx="32">
                  <c:v>13085393</c:v>
                </c:pt>
                <c:pt idx="33">
                  <c:v>130853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DFC0-495C-AC33-95AA252098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82690928"/>
        <c:axId val="1"/>
      </c:barChart>
      <c:catAx>
        <c:axId val="11826909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30500000"/>
          <c:min val="-1.5"/>
        </c:scaling>
        <c:delete val="1"/>
        <c:axPos val="r"/>
        <c:numFmt formatCode="General" sourceLinked="1"/>
        <c:majorTickMark val="out"/>
        <c:minorTickMark val="none"/>
        <c:tickLblPos val="nextTo"/>
        <c:crossAx val="1182690928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909998117115416E-3"/>
          <c:y val="2.7484143763213533E-2"/>
          <c:w val="0.98041800037657689"/>
          <c:h val="0.9450317124735729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D9E4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2000000</c:v>
                </c:pt>
                <c:pt idx="1">
                  <c:v>2100000</c:v>
                </c:pt>
                <c:pt idx="2">
                  <c:v>2000000</c:v>
                </c:pt>
                <c:pt idx="3">
                  <c:v>2100000</c:v>
                </c:pt>
                <c:pt idx="4">
                  <c:v>2000000</c:v>
                </c:pt>
                <c:pt idx="5">
                  <c:v>2100000</c:v>
                </c:pt>
                <c:pt idx="6">
                  <c:v>2000000</c:v>
                </c:pt>
                <c:pt idx="7">
                  <c:v>2100000</c:v>
                </c:pt>
                <c:pt idx="8">
                  <c:v>2000000</c:v>
                </c:pt>
                <c:pt idx="9">
                  <c:v>2100000</c:v>
                </c:pt>
                <c:pt idx="10">
                  <c:v>2000000</c:v>
                </c:pt>
                <c:pt idx="11">
                  <c:v>21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3C-441B-A842-B8DE4AD89389}"/>
            </c:ext>
          </c:extLst>
        </c:ser>
        <c:ser>
          <c:idx val="1"/>
          <c:order val="1"/>
          <c:spPr>
            <a:solidFill>
              <a:srgbClr val="007770"/>
            </a:solidFill>
            <a:ln w="12700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L$2</c:f>
              <c:numCache>
                <c:formatCode>General</c:formatCode>
                <c:ptCount val="12"/>
                <c:pt idx="0">
                  <c:v>10000</c:v>
                </c:pt>
                <c:pt idx="1">
                  <c:v>12000</c:v>
                </c:pt>
                <c:pt idx="2">
                  <c:v>10000</c:v>
                </c:pt>
                <c:pt idx="3">
                  <c:v>12000</c:v>
                </c:pt>
                <c:pt idx="4">
                  <c:v>10000</c:v>
                </c:pt>
                <c:pt idx="5">
                  <c:v>12000</c:v>
                </c:pt>
                <c:pt idx="6">
                  <c:v>10000</c:v>
                </c:pt>
                <c:pt idx="7">
                  <c:v>12000</c:v>
                </c:pt>
                <c:pt idx="8">
                  <c:v>10000</c:v>
                </c:pt>
                <c:pt idx="9">
                  <c:v>12000</c:v>
                </c:pt>
                <c:pt idx="10">
                  <c:v>10000</c:v>
                </c:pt>
                <c:pt idx="11">
                  <c:v>1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93C-441B-A842-B8DE4AD893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20897296"/>
        <c:axId val="1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193C-441B-A842-B8DE4AD89389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193C-441B-A842-B8DE4AD89389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193C-441B-A842-B8DE4AD89389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193C-441B-A842-B8DE4AD89389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193C-441B-A842-B8DE4AD89389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193C-441B-A842-B8DE4AD89389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193C-441B-A842-B8DE4AD89389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193C-441B-A842-B8DE4AD89389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193C-441B-A842-B8DE4AD89389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193C-441B-A842-B8DE4AD89389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193C-441B-A842-B8DE4AD89389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193C-441B-A842-B8DE4AD89389}"/>
              </c:ext>
            </c:extLst>
          </c:dPt>
          <c:val>
            <c:numRef>
              <c:f>Sheet1!$A$3:$L$3</c:f>
              <c:numCache>
                <c:formatCode>General</c:formatCode>
                <c:ptCount val="12"/>
                <c:pt idx="0">
                  <c:v>10</c:v>
                </c:pt>
                <c:pt idx="1">
                  <c:v>10.100000000000001</c:v>
                </c:pt>
                <c:pt idx="2">
                  <c:v>10</c:v>
                </c:pt>
                <c:pt idx="3">
                  <c:v>10.100000000000001</c:v>
                </c:pt>
                <c:pt idx="4">
                  <c:v>10</c:v>
                </c:pt>
                <c:pt idx="5">
                  <c:v>10.100000000000001</c:v>
                </c:pt>
                <c:pt idx="6">
                  <c:v>10</c:v>
                </c:pt>
                <c:pt idx="7">
                  <c:v>10.100000000000001</c:v>
                </c:pt>
                <c:pt idx="8">
                  <c:v>10</c:v>
                </c:pt>
                <c:pt idx="9">
                  <c:v>10.100000000000001</c:v>
                </c:pt>
                <c:pt idx="10">
                  <c:v>10</c:v>
                </c:pt>
                <c:pt idx="11">
                  <c:v>10.1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193C-441B-A842-B8DE4AD893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6208972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+mj-lt"/>
                <a:ea typeface="+mj-ea"/>
                <a:cs typeface="+mj-cs"/>
                <a:sym typeface="+mj-lt"/>
              </a:defRPr>
            </a:pPr>
            <a:endParaRPr lang="en-US"/>
          </a:p>
        </c:txPr>
        <c:crossAx val="620897296"/>
        <c:crosses val="min"/>
        <c:crossBetween val="between"/>
        <c:majorUnit val="500000"/>
      </c:valAx>
      <c:valAx>
        <c:axId val="2"/>
        <c:scaling>
          <c:orientation val="minMax"/>
          <c:max val="11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+mj-lt"/>
                <a:ea typeface="+mj-ea"/>
                <a:cs typeface="+mj-cs"/>
                <a:sym typeface="+mj-lt"/>
              </a:defRPr>
            </a:pPr>
            <a:endParaRPr lang="en-US"/>
          </a:p>
        </c:txPr>
        <c:crossAx val="3"/>
        <c:crosses val="max"/>
        <c:crossBetween val="between"/>
        <c:majorUnit val="1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909998117115416E-3"/>
          <c:y val="5.7458563535911604E-2"/>
          <c:w val="0.98041800037657689"/>
          <c:h val="0.8850828729281768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D9E4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1000000</c:v>
                </c:pt>
                <c:pt idx="1">
                  <c:v>1500000</c:v>
                </c:pt>
                <c:pt idx="2">
                  <c:v>2000000</c:v>
                </c:pt>
                <c:pt idx="3">
                  <c:v>2500000</c:v>
                </c:pt>
                <c:pt idx="4">
                  <c:v>3000000</c:v>
                </c:pt>
                <c:pt idx="5">
                  <c:v>3500000</c:v>
                </c:pt>
                <c:pt idx="6">
                  <c:v>4000000</c:v>
                </c:pt>
                <c:pt idx="7">
                  <c:v>4500000</c:v>
                </c:pt>
                <c:pt idx="8">
                  <c:v>5000000</c:v>
                </c:pt>
                <c:pt idx="9">
                  <c:v>5500000</c:v>
                </c:pt>
                <c:pt idx="10">
                  <c:v>6000000</c:v>
                </c:pt>
                <c:pt idx="11">
                  <c:v>65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AB4-B0E4-B63C40F9C3DB}"/>
            </c:ext>
          </c:extLst>
        </c:ser>
        <c:ser>
          <c:idx val="1"/>
          <c:order val="1"/>
          <c:spPr>
            <a:solidFill>
              <a:srgbClr val="007770"/>
            </a:solidFill>
            <a:ln w="12700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L$2</c:f>
              <c:numCache>
                <c:formatCode>General</c:formatCode>
                <c:ptCount val="12"/>
                <c:pt idx="0">
                  <c:v>1000</c:v>
                </c:pt>
                <c:pt idx="1">
                  <c:v>5000</c:v>
                </c:pt>
                <c:pt idx="2">
                  <c:v>100000</c:v>
                </c:pt>
                <c:pt idx="3">
                  <c:v>150000</c:v>
                </c:pt>
                <c:pt idx="4">
                  <c:v>200000</c:v>
                </c:pt>
                <c:pt idx="5">
                  <c:v>250000</c:v>
                </c:pt>
                <c:pt idx="6">
                  <c:v>300000</c:v>
                </c:pt>
                <c:pt idx="7">
                  <c:v>350000</c:v>
                </c:pt>
                <c:pt idx="8">
                  <c:v>400000</c:v>
                </c:pt>
                <c:pt idx="9">
                  <c:v>450000</c:v>
                </c:pt>
                <c:pt idx="10">
                  <c:v>500000</c:v>
                </c:pt>
                <c:pt idx="11">
                  <c:v>55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90-4AB4-B0E4-B63C40F9C3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4861696"/>
        <c:axId val="1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3790-4AB4-B0E4-B63C40F9C3DB}"/>
              </c:ext>
            </c:extLst>
          </c:dPt>
          <c:dPt>
            <c:idx val="1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3790-4AB4-B0E4-B63C40F9C3DB}"/>
              </c:ext>
            </c:extLst>
          </c:dPt>
          <c:dPt>
            <c:idx val="2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3790-4AB4-B0E4-B63C40F9C3DB}"/>
              </c:ext>
            </c:extLst>
          </c:dPt>
          <c:dPt>
            <c:idx val="3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3790-4AB4-B0E4-B63C40F9C3DB}"/>
              </c:ext>
            </c:extLst>
          </c:dPt>
          <c:dPt>
            <c:idx val="4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3790-4AB4-B0E4-B63C40F9C3DB}"/>
              </c:ext>
            </c:extLst>
          </c:dPt>
          <c:dPt>
            <c:idx val="5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3790-4AB4-B0E4-B63C40F9C3DB}"/>
              </c:ext>
            </c:extLst>
          </c:dPt>
          <c:dPt>
            <c:idx val="6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3790-4AB4-B0E4-B63C40F9C3DB}"/>
              </c:ext>
            </c:extLst>
          </c:dPt>
          <c:dPt>
            <c:idx val="7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3790-4AB4-B0E4-B63C40F9C3DB}"/>
              </c:ext>
            </c:extLst>
          </c:dPt>
          <c:dPt>
            <c:idx val="8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3790-4AB4-B0E4-B63C40F9C3DB}"/>
              </c:ext>
            </c:extLst>
          </c:dPt>
          <c:dPt>
            <c:idx val="9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3790-4AB4-B0E4-B63C40F9C3DB}"/>
              </c:ext>
            </c:extLst>
          </c:dPt>
          <c:dPt>
            <c:idx val="10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3790-4AB4-B0E4-B63C40F9C3DB}"/>
              </c:ext>
            </c:extLst>
          </c:dPt>
          <c:dPt>
            <c:idx val="11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3790-4AB4-B0E4-B63C40F9C3DB}"/>
              </c:ext>
            </c:extLst>
          </c:dPt>
          <c:val>
            <c:numRef>
              <c:f>Sheet1!$A$3:$L$3</c:f>
              <c:numCache>
                <c:formatCode>General</c:formatCode>
                <c:ptCount val="12"/>
                <c:pt idx="0">
                  <c:v>5</c:v>
                </c:pt>
                <c:pt idx="1">
                  <c:v>6</c:v>
                </c:pt>
                <c:pt idx="2">
                  <c:v>5</c:v>
                </c:pt>
                <c:pt idx="3">
                  <c:v>6</c:v>
                </c:pt>
                <c:pt idx="4">
                  <c:v>5</c:v>
                </c:pt>
                <c:pt idx="5">
                  <c:v>6</c:v>
                </c:pt>
                <c:pt idx="6">
                  <c:v>5</c:v>
                </c:pt>
                <c:pt idx="7">
                  <c:v>6</c:v>
                </c:pt>
                <c:pt idx="8">
                  <c:v>5</c:v>
                </c:pt>
                <c:pt idx="9">
                  <c:v>6</c:v>
                </c:pt>
                <c:pt idx="10">
                  <c:v>5</c:v>
                </c:pt>
                <c:pt idx="11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3790-4AB4-B0E4-B63C40F9C3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5748616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7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574861696"/>
        <c:crosses val="min"/>
        <c:crossBetween val="between"/>
        <c:majorUnit val="1000000"/>
      </c:valAx>
      <c:valAx>
        <c:axId val="2"/>
        <c:scaling>
          <c:orientation val="minMax"/>
          <c:max val="10"/>
          <c:min val="-2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7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909998117115416E-3"/>
          <c:y val="6.3106796116504854E-2"/>
          <c:w val="0.98041800037657689"/>
          <c:h val="0.8737864077669902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D9E4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1000000</c:v>
                </c:pt>
                <c:pt idx="1">
                  <c:v>1500000</c:v>
                </c:pt>
                <c:pt idx="2">
                  <c:v>2000000</c:v>
                </c:pt>
                <c:pt idx="3">
                  <c:v>2500000</c:v>
                </c:pt>
                <c:pt idx="4">
                  <c:v>3000000</c:v>
                </c:pt>
                <c:pt idx="5">
                  <c:v>3500000</c:v>
                </c:pt>
                <c:pt idx="6">
                  <c:v>4000000</c:v>
                </c:pt>
                <c:pt idx="7">
                  <c:v>4500000</c:v>
                </c:pt>
                <c:pt idx="8">
                  <c:v>5000000</c:v>
                </c:pt>
                <c:pt idx="9">
                  <c:v>5500000</c:v>
                </c:pt>
                <c:pt idx="10">
                  <c:v>6000000</c:v>
                </c:pt>
                <c:pt idx="11">
                  <c:v>65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B2-44BA-BA0F-477A8C2FC6D5}"/>
            </c:ext>
          </c:extLst>
        </c:ser>
        <c:ser>
          <c:idx val="1"/>
          <c:order val="1"/>
          <c:spPr>
            <a:solidFill>
              <a:srgbClr val="007770"/>
            </a:solidFill>
            <a:ln w="12700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L$2</c:f>
              <c:numCache>
                <c:formatCode>General</c:formatCode>
                <c:ptCount val="12"/>
                <c:pt idx="0">
                  <c:v>1000</c:v>
                </c:pt>
                <c:pt idx="1">
                  <c:v>5000</c:v>
                </c:pt>
                <c:pt idx="2">
                  <c:v>100000</c:v>
                </c:pt>
                <c:pt idx="3">
                  <c:v>150000</c:v>
                </c:pt>
                <c:pt idx="4">
                  <c:v>200000</c:v>
                </c:pt>
                <c:pt idx="5">
                  <c:v>250000</c:v>
                </c:pt>
                <c:pt idx="6">
                  <c:v>300000</c:v>
                </c:pt>
                <c:pt idx="7">
                  <c:v>350000</c:v>
                </c:pt>
                <c:pt idx="8">
                  <c:v>400000</c:v>
                </c:pt>
                <c:pt idx="9">
                  <c:v>450000</c:v>
                </c:pt>
                <c:pt idx="10">
                  <c:v>500000</c:v>
                </c:pt>
                <c:pt idx="11">
                  <c:v>55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6B2-44BA-BA0F-477A8C2FC6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57102824"/>
        <c:axId val="1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56B2-44BA-BA0F-477A8C2FC6D5}"/>
              </c:ext>
            </c:extLst>
          </c:dPt>
          <c:dPt>
            <c:idx val="1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56B2-44BA-BA0F-477A8C2FC6D5}"/>
              </c:ext>
            </c:extLst>
          </c:dPt>
          <c:dPt>
            <c:idx val="2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56B2-44BA-BA0F-477A8C2FC6D5}"/>
              </c:ext>
            </c:extLst>
          </c:dPt>
          <c:dPt>
            <c:idx val="3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56B2-44BA-BA0F-477A8C2FC6D5}"/>
              </c:ext>
            </c:extLst>
          </c:dPt>
          <c:dPt>
            <c:idx val="4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56B2-44BA-BA0F-477A8C2FC6D5}"/>
              </c:ext>
            </c:extLst>
          </c:dPt>
          <c:dPt>
            <c:idx val="5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56B2-44BA-BA0F-477A8C2FC6D5}"/>
              </c:ext>
            </c:extLst>
          </c:dPt>
          <c:dPt>
            <c:idx val="6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56B2-44BA-BA0F-477A8C2FC6D5}"/>
              </c:ext>
            </c:extLst>
          </c:dPt>
          <c:dPt>
            <c:idx val="7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56B2-44BA-BA0F-477A8C2FC6D5}"/>
              </c:ext>
            </c:extLst>
          </c:dPt>
          <c:dPt>
            <c:idx val="8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56B2-44BA-BA0F-477A8C2FC6D5}"/>
              </c:ext>
            </c:extLst>
          </c:dPt>
          <c:dPt>
            <c:idx val="9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56B2-44BA-BA0F-477A8C2FC6D5}"/>
              </c:ext>
            </c:extLst>
          </c:dPt>
          <c:dPt>
            <c:idx val="10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56B2-44BA-BA0F-477A8C2FC6D5}"/>
              </c:ext>
            </c:extLst>
          </c:dPt>
          <c:dPt>
            <c:idx val="11"/>
            <c:marker>
              <c:symbol val="circle"/>
              <c:size val="2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56B2-44BA-BA0F-477A8C2FC6D5}"/>
              </c:ext>
            </c:extLst>
          </c:dPt>
          <c:val>
            <c:numRef>
              <c:f>Sheet1!$A$3:$L$3</c:f>
              <c:numCache>
                <c:formatCode>General</c:formatCode>
                <c:ptCount val="12"/>
                <c:pt idx="0">
                  <c:v>5</c:v>
                </c:pt>
                <c:pt idx="1">
                  <c:v>6</c:v>
                </c:pt>
                <c:pt idx="2">
                  <c:v>5</c:v>
                </c:pt>
                <c:pt idx="3">
                  <c:v>6</c:v>
                </c:pt>
                <c:pt idx="4">
                  <c:v>5</c:v>
                </c:pt>
                <c:pt idx="5">
                  <c:v>6</c:v>
                </c:pt>
                <c:pt idx="6">
                  <c:v>5</c:v>
                </c:pt>
                <c:pt idx="7">
                  <c:v>6</c:v>
                </c:pt>
                <c:pt idx="8">
                  <c:v>5</c:v>
                </c:pt>
                <c:pt idx="9">
                  <c:v>6</c:v>
                </c:pt>
                <c:pt idx="10">
                  <c:v>5</c:v>
                </c:pt>
                <c:pt idx="11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56B2-44BA-BA0F-477A8C2FC6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6571028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7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657102824"/>
        <c:crosses val="min"/>
        <c:crossBetween val="between"/>
        <c:majorUnit val="1000000"/>
      </c:valAx>
      <c:valAx>
        <c:axId val="2"/>
        <c:scaling>
          <c:orientation val="minMax"/>
          <c:max val="6"/>
          <c:min val="-1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7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2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652582159624413E-3"/>
          <c:y val="2.8888888888888888E-2"/>
          <c:w val="0.98046948356807517"/>
          <c:h val="0.9422222222222221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 w="3175" algn="ctr">
              <a:solidFill>
                <a:srgbClr val="026F4E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2000</c:v>
                </c:pt>
                <c:pt idx="1">
                  <c:v>60000</c:v>
                </c:pt>
                <c:pt idx="2">
                  <c:v>120000</c:v>
                </c:pt>
                <c:pt idx="3">
                  <c:v>180000</c:v>
                </c:pt>
                <c:pt idx="4">
                  <c:v>240000</c:v>
                </c:pt>
                <c:pt idx="5">
                  <c:v>240000</c:v>
                </c:pt>
                <c:pt idx="6">
                  <c:v>240000</c:v>
                </c:pt>
                <c:pt idx="7">
                  <c:v>240000</c:v>
                </c:pt>
                <c:pt idx="8">
                  <c:v>240000</c:v>
                </c:pt>
                <c:pt idx="9">
                  <c:v>240000</c:v>
                </c:pt>
                <c:pt idx="10">
                  <c:v>240000</c:v>
                </c:pt>
                <c:pt idx="11">
                  <c:v>24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AD-461B-8835-CD07EEE474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33491680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FDAD-461B-8835-CD07EEE4747B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FDAD-461B-8835-CD07EEE4747B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FDAD-461B-8835-CD07EEE4747B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FDAD-461B-8835-CD07EEE4747B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FDAD-461B-8835-CD07EEE4747B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FDAD-461B-8835-CD07EEE4747B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FDAD-461B-8835-CD07EEE4747B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FDAD-461B-8835-CD07EEE4747B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FDAD-461B-8835-CD07EEE4747B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FDAD-461B-8835-CD07EEE4747B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FDAD-461B-8835-CD07EEE4747B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FDAD-461B-8835-CD07EEE4747B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0.1</c:v>
                </c:pt>
                <c:pt idx="1">
                  <c:v>0.2</c:v>
                </c:pt>
                <c:pt idx="2">
                  <c:v>0.1</c:v>
                </c:pt>
                <c:pt idx="3">
                  <c:v>0.2</c:v>
                </c:pt>
                <c:pt idx="4">
                  <c:v>0.1</c:v>
                </c:pt>
                <c:pt idx="5">
                  <c:v>0.2</c:v>
                </c:pt>
                <c:pt idx="6">
                  <c:v>0.1</c:v>
                </c:pt>
                <c:pt idx="7">
                  <c:v>0.2</c:v>
                </c:pt>
                <c:pt idx="8">
                  <c:v>0.1</c:v>
                </c:pt>
                <c:pt idx="9">
                  <c:v>0.2</c:v>
                </c:pt>
                <c:pt idx="10">
                  <c:v>0.1</c:v>
                </c:pt>
                <c:pt idx="11">
                  <c:v>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FDAD-461B-8835-CD07EEE474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4334916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5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433491680"/>
        <c:crosses val="min"/>
        <c:crossBetween val="between"/>
      </c:valAx>
      <c:valAx>
        <c:axId val="2"/>
        <c:scaling>
          <c:orientation val="minMax"/>
          <c:max val="5"/>
          <c:min val="-1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642560793551488E-2"/>
          <c:y val="0.16575759937228848"/>
          <c:w val="0.94734260415702098"/>
          <c:h val="0.819769997745425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 69 SP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0"/>
              <c:numFmt formatCode="#,##0,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FAB-488A-8D9E-AA358413A017}"/>
                </c:ext>
              </c:extLst>
            </c:dLbl>
            <c:numFmt formatCode="#,##0," sourceLinked="0"/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L$2</c:f>
              <c:numCache>
                <c:formatCode>_(* #,##0_);_(* \(#,##0\);_(* "-"??_);_(@_)</c:formatCode>
                <c:ptCount val="11"/>
                <c:pt idx="0">
                  <c:v>2000000</c:v>
                </c:pt>
                <c:pt idx="1">
                  <c:v>2100000</c:v>
                </c:pt>
                <c:pt idx="2">
                  <c:v>2200000</c:v>
                </c:pt>
                <c:pt idx="3">
                  <c:v>2300000</c:v>
                </c:pt>
                <c:pt idx="4">
                  <c:v>2400000</c:v>
                </c:pt>
                <c:pt idx="5">
                  <c:v>2500000</c:v>
                </c:pt>
                <c:pt idx="6">
                  <c:v>2600000</c:v>
                </c:pt>
                <c:pt idx="7">
                  <c:v>2700000</c:v>
                </c:pt>
                <c:pt idx="8">
                  <c:v>2800000</c:v>
                </c:pt>
                <c:pt idx="9">
                  <c:v>2900000</c:v>
                </c:pt>
                <c:pt idx="10">
                  <c:v>3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AB-488A-8D9E-AA358413A01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 69 OP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</c:spPr>
          <c:invertIfNegative val="0"/>
          <c:dLbls>
            <c:numFmt formatCode="#,##0,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3:$L$3</c:f>
              <c:numCache>
                <c:formatCode>_(* #,##0_);_(* \(#,##0\);_(* "-"??_);_(@_)</c:formatCode>
                <c:ptCount val="11"/>
                <c:pt idx="0">
                  <c:v>1900000</c:v>
                </c:pt>
                <c:pt idx="1">
                  <c:v>2000000</c:v>
                </c:pt>
                <c:pt idx="2">
                  <c:v>2100000</c:v>
                </c:pt>
                <c:pt idx="3">
                  <c:v>2200000</c:v>
                </c:pt>
                <c:pt idx="4">
                  <c:v>2300000</c:v>
                </c:pt>
                <c:pt idx="5">
                  <c:v>2400000</c:v>
                </c:pt>
                <c:pt idx="6">
                  <c:v>2500000</c:v>
                </c:pt>
                <c:pt idx="7">
                  <c:v>2600000</c:v>
                </c:pt>
                <c:pt idx="8">
                  <c:v>2700000</c:v>
                </c:pt>
                <c:pt idx="9">
                  <c:v>2800000</c:v>
                </c:pt>
                <c:pt idx="10">
                  <c:v>29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09701504"/>
        <c:axId val="210960768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MS% PR69 SP</c:v>
                </c:pt>
              </c:strCache>
            </c:strRef>
          </c:tx>
          <c:spPr>
            <a:ln w="19050">
              <a:solidFill>
                <a:schemeClr val="bg1">
                  <a:lumMod val="50000"/>
                </a:schemeClr>
              </a:solidFill>
              <a:prstDash val="sysDash"/>
            </a:ln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bg1">
                    <a:lumMod val="50000"/>
                  </a:schemeClr>
                </a:solidFill>
                <a:prstDash val="solid"/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3-8FAB-488A-8D9E-AA358413A017}"/>
              </c:ext>
            </c:extLst>
          </c:dPt>
          <c:dLbls>
            <c:dLbl>
              <c:idx val="0"/>
              <c:layout>
                <c:manualLayout>
                  <c:x val="-3.6242939320503473E-2"/>
                  <c:y val="4.66084125953955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8FAB-488A-8D9E-AA358413A017}"/>
                </c:ext>
              </c:extLst>
            </c:dLbl>
            <c:dLbl>
              <c:idx val="1"/>
              <c:layout>
                <c:manualLayout>
                  <c:x val="-3.0954239186080992E-2"/>
                  <c:y val="6.52726272119210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8FAB-488A-8D9E-AA358413A017}"/>
                </c:ext>
              </c:extLst>
            </c:dLbl>
            <c:dLbl>
              <c:idx val="2"/>
              <c:layout>
                <c:manualLayout>
                  <c:x val="-2.7368814212377142E-2"/>
                  <c:y val="-3.79708356855660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8FAB-488A-8D9E-AA358413A017}"/>
                </c:ext>
              </c:extLst>
            </c:dLbl>
            <c:dLbl>
              <c:idx val="3"/>
              <c:layout>
                <c:manualLayout>
                  <c:x val="-3.0954239186080992E-2"/>
                  <c:y val="5.43209876543209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8FAB-488A-8D9E-AA358413A017}"/>
                </c:ext>
              </c:extLst>
            </c:dLbl>
            <c:dLbl>
              <c:idx val="5"/>
              <c:layout>
                <c:manualLayout>
                  <c:x val="-3.6510996704828089E-2"/>
                  <c:y val="-2.99763180484311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8FAB-488A-8D9E-AA358413A017}"/>
                </c:ext>
              </c:extLst>
            </c:dLbl>
            <c:dLbl>
              <c:idx val="6"/>
              <c:layout>
                <c:manualLayout>
                  <c:x val="-3.7856929911534005E-2"/>
                  <c:y val="-3.63718131832505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8FAB-488A-8D9E-AA358413A017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4:$L$4</c:f>
              <c:numCache>
                <c:formatCode>0.0%</c:formatCode>
                <c:ptCount val="11"/>
                <c:pt idx="0">
                  <c:v>0.10100000000000001</c:v>
                </c:pt>
                <c:pt idx="1">
                  <c:v>0.10199999999999999</c:v>
                </c:pt>
                <c:pt idx="2">
                  <c:v>0.10299999999999999</c:v>
                </c:pt>
                <c:pt idx="3">
                  <c:v>0.104</c:v>
                </c:pt>
                <c:pt idx="4">
                  <c:v>0.105</c:v>
                </c:pt>
                <c:pt idx="5">
                  <c:v>0.106</c:v>
                </c:pt>
                <c:pt idx="6">
                  <c:v>0.107</c:v>
                </c:pt>
                <c:pt idx="7">
                  <c:v>0.108</c:v>
                </c:pt>
                <c:pt idx="8">
                  <c:v>0.109</c:v>
                </c:pt>
                <c:pt idx="9">
                  <c:v>0.11</c:v>
                </c:pt>
                <c:pt idx="10">
                  <c:v>0.1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FAB-488A-8D9E-AA358413A01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S% PR69 OP</c:v>
                </c:pt>
              </c:strCache>
            </c:strRef>
          </c:tx>
          <c:spPr>
            <a:ln w="22225">
              <a:solidFill>
                <a:srgbClr val="003366"/>
              </a:solidFill>
            </a:ln>
          </c:spPr>
          <c:marker>
            <c:symbol val="diamond"/>
            <c:size val="6"/>
            <c:spPr>
              <a:solidFill>
                <a:srgbClr val="003366"/>
              </a:solidFill>
              <a:ln>
                <a:solidFill>
                  <a:srgbClr val="003366"/>
                </a:solidFill>
              </a:ln>
            </c:spPr>
          </c:marker>
          <c:dLbls>
            <c:dLbl>
              <c:idx val="0"/>
              <c:layout>
                <c:manualLayout>
                  <c:x val="-3.7059533300660162E-2"/>
                  <c:y val="-2.946398243454745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902132940653027E-2"/>
                      <c:h val="4.684041362809757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8FAB-488A-8D9E-AA358413A017}"/>
                </c:ext>
              </c:extLst>
            </c:dLbl>
            <c:dLbl>
              <c:idx val="1"/>
              <c:layout>
                <c:manualLayout>
                  <c:x val="-3.8852228814573737E-2"/>
                  <c:y val="-3.89077629330165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8FAB-488A-8D9E-AA358413A017}"/>
                </c:ext>
              </c:extLst>
            </c:dLbl>
            <c:dLbl>
              <c:idx val="2"/>
              <c:layout>
                <c:manualLayout>
                  <c:x val="-4.0644924328487313E-2"/>
                  <c:y val="6.30834602894540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8FAB-488A-8D9E-AA358413A017}"/>
                </c:ext>
              </c:extLst>
            </c:dLbl>
            <c:dLbl>
              <c:idx val="3"/>
              <c:layout>
                <c:manualLayout>
                  <c:x val="-2.9888751245005861E-2"/>
                  <c:y val="-4.26852156449598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E-8FAB-488A-8D9E-AA358413A017}"/>
                </c:ext>
              </c:extLst>
            </c:dLbl>
            <c:dLbl>
              <c:idx val="6"/>
              <c:layout>
                <c:manualLayout>
                  <c:x val="-4.0286385225704664E-2"/>
                  <c:y val="5.930600757751065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0-8FAB-488A-8D9E-AA358413A017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/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A7E-4A56-BA3D-3D3D6F99EA48}"/>
                </c:ext>
              </c:extLst>
            </c:dLbl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5:$L$5</c:f>
              <c:numCache>
                <c:formatCode>0.0%</c:formatCode>
                <c:ptCount val="11"/>
                <c:pt idx="0">
                  <c:v>0.10199999999999999</c:v>
                </c:pt>
                <c:pt idx="1">
                  <c:v>0.10299999999999999</c:v>
                </c:pt>
                <c:pt idx="2">
                  <c:v>0.104</c:v>
                </c:pt>
                <c:pt idx="3">
                  <c:v>0.105</c:v>
                </c:pt>
                <c:pt idx="4">
                  <c:v>0.106</c:v>
                </c:pt>
                <c:pt idx="5">
                  <c:v>0.107</c:v>
                </c:pt>
                <c:pt idx="6">
                  <c:v>0.108</c:v>
                </c:pt>
                <c:pt idx="7">
                  <c:v>0.109</c:v>
                </c:pt>
                <c:pt idx="8">
                  <c:v>0.11</c:v>
                </c:pt>
                <c:pt idx="9">
                  <c:v>0.111</c:v>
                </c:pt>
                <c:pt idx="10">
                  <c:v>0.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0963840"/>
        <c:axId val="210962304"/>
      </c:lineChart>
      <c:catAx>
        <c:axId val="2097015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10960768"/>
        <c:crosses val="autoZero"/>
        <c:auto val="1"/>
        <c:lblAlgn val="ctr"/>
        <c:lblOffset val="100"/>
        <c:noMultiLvlLbl val="0"/>
      </c:catAx>
      <c:valAx>
        <c:axId val="210960768"/>
        <c:scaling>
          <c:orientation val="minMax"/>
          <c:max val="4500000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one"/>
        <c:spPr>
          <a:ln>
            <a:noFill/>
          </a:ln>
        </c:spPr>
        <c:crossAx val="209701504"/>
        <c:crosses val="autoZero"/>
        <c:crossBetween val="between"/>
      </c:valAx>
      <c:valAx>
        <c:axId val="210962304"/>
        <c:scaling>
          <c:orientation val="minMax"/>
        </c:scaling>
        <c:delete val="0"/>
        <c:axPos val="r"/>
        <c:numFmt formatCode="0%" sourceLinked="0"/>
        <c:majorTickMark val="out"/>
        <c:minorTickMark val="in"/>
        <c:tickLblPos val="none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</c:spPr>
        <c:crossAx val="210963840"/>
        <c:crosses val="max"/>
        <c:crossBetween val="between"/>
      </c:valAx>
      <c:catAx>
        <c:axId val="2109638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0962304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5.007218997536985E-2"/>
          <c:y val="2.8425314556728018E-2"/>
          <c:w val="0.82495297080167274"/>
          <c:h val="4.058279189136838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 b="1">
          <a:latin typeface="VWAG TheSans" panose="020B0502050302020203" pitchFamily="34" charset="0"/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986555811073758E-3"/>
          <c:y val="3.1572556162720096E-2"/>
          <c:w val="0.98160268883778523"/>
          <c:h val="0.9368548876745598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2D7-4D9B-8F9B-68E42FFE019A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2D7-4D9B-8F9B-68E42FFE019A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2585567.5675675645</c:v>
                </c:pt>
                <c:pt idx="1">
                  <c:v>2385567.5675675645</c:v>
                </c:pt>
                <c:pt idx="2">
                  <c:v>2385567.5675675645</c:v>
                </c:pt>
                <c:pt idx="3">
                  <c:v>1705567.5675675645</c:v>
                </c:pt>
                <c:pt idx="4">
                  <c:v>1655567.5675675645</c:v>
                </c:pt>
                <c:pt idx="5">
                  <c:v>1655567.56756756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2D7-4D9B-8F9B-68E42FFE019A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2D7-4D9B-8F9B-68E42FFE019A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200000</c:v>
                </c:pt>
                <c:pt idx="2">
                  <c:v>20000</c:v>
                </c:pt>
                <c:pt idx="3">
                  <c:v>700000</c:v>
                </c:pt>
                <c:pt idx="4">
                  <c:v>5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2D7-4D9B-8F9B-68E42FFE01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57091344"/>
        <c:axId val="1"/>
      </c:barChart>
      <c:catAx>
        <c:axId val="6570913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85567.567567564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570913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8211" y="0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74761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8211" y="9374761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fld id="{E37F82D7-8F0F-4075-B772-300E12DF032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669248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8211" y="0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98500" y="739775"/>
            <a:ext cx="5345113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7476" y="4687381"/>
            <a:ext cx="4943987" cy="4443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74761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8211" y="9374761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fld id="{6FD2FF9D-3303-423F-A46B-6894B09FEDC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7925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101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776" indent="-285683" defTabSz="91101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2732" indent="-228548" defTabSz="91101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599824" indent="-228548" defTabSz="91101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6917" indent="-228548" defTabSz="91101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009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103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8195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5288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370E58-3B1B-4A83-B54B-15D2B10490FB}" type="slidenum">
              <a:rPr lang="zh-CN" altLang="en-US" sz="1200"/>
              <a:pPr/>
              <a:t>1</a:t>
            </a:fld>
            <a:endParaRPr lang="en-US" altLang="zh-CN" sz="1200" dirty="0"/>
          </a:p>
        </p:txBody>
      </p:sp>
      <p:sp>
        <p:nvSpPr>
          <p:cNvPr id="61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5325" y="739775"/>
            <a:ext cx="5348288" cy="3702050"/>
          </a:xfrm>
          <a:ln/>
        </p:spPr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7884" y="4687416"/>
            <a:ext cx="4943175" cy="44424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smtClean="0"/>
              <a:t>Group Market </a:t>
            </a:r>
            <a:r>
              <a:rPr lang="de-DE" dirty="0" err="1" smtClean="0"/>
              <a:t>Intelligenc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33212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45712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37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algn="r" defTabSz="9037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191771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19573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9245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1319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7AD731A-45D6-45F1-9911-161B03F1254D}" type="slidenum">
              <a:rPr lang="de-DE"/>
              <a:pPr/>
              <a:t>4</a:t>
            </a:fld>
            <a:endParaRPr lang="de-DE" dirty="0"/>
          </a:p>
        </p:txBody>
      </p:sp>
      <p:sp>
        <p:nvSpPr>
          <p:cNvPr id="182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22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5809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52549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roup Market Intelligence</a:t>
            </a:r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71982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0279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roup Market Intelligence</a:t>
            </a:r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52475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33847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2163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4436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VW_AG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02" name="Line 2"/>
          <p:cNvSpPr>
            <a:spLocks noChangeShapeType="1"/>
          </p:cNvSpPr>
          <p:nvPr/>
        </p:nvSpPr>
        <p:spPr bwMode="auto">
          <a:xfrm>
            <a:off x="396875" y="1697038"/>
            <a:ext cx="9097963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>
              <a:latin typeface="VWAG TheSans" panose="020B0502050302020203" pitchFamily="34" charset="0"/>
            </a:endParaRPr>
          </a:p>
        </p:txBody>
      </p:sp>
      <p:sp>
        <p:nvSpPr>
          <p:cNvPr id="25600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406400" y="4271963"/>
            <a:ext cx="9088438" cy="1082675"/>
          </a:xfrm>
        </p:spPr>
        <p:txBody>
          <a:bodyPr/>
          <a:lstStyle>
            <a:lvl1pPr>
              <a:lnSpc>
                <a:spcPts val="3988"/>
              </a:lnSpc>
              <a:defRPr sz="2800">
                <a:latin typeface="VWAG TheSans" panose="020B0502050302020203" pitchFamily="34" charset="0"/>
              </a:defRPr>
            </a:lvl1pPr>
          </a:lstStyle>
          <a:p>
            <a:pPr lvl="0"/>
            <a:r>
              <a:rPr lang="de-DE" noProof="0" dirty="0" smtClean="0"/>
              <a:t>Titelmasterformat durch Klicken bearbeiten</a:t>
            </a:r>
          </a:p>
        </p:txBody>
      </p:sp>
      <p:sp>
        <p:nvSpPr>
          <p:cNvPr id="256004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6400" y="5351463"/>
            <a:ext cx="9088438" cy="823912"/>
          </a:xfrm>
        </p:spPr>
        <p:txBody>
          <a:bodyPr/>
          <a:lstStyle>
            <a:lvl1pPr>
              <a:lnSpc>
                <a:spcPts val="3988"/>
              </a:lnSpc>
              <a:defRPr sz="2400">
                <a:solidFill>
                  <a:schemeClr val="tx2"/>
                </a:solidFill>
                <a:latin typeface="VWAG TheSans" panose="020B0502050302020203" pitchFamily="34" charset="0"/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pic>
        <p:nvPicPr>
          <p:cNvPr id="8" name="Picture 59" descr="VWGCN-en_CO_M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4788" y="701675"/>
            <a:ext cx="18605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3817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9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548438"/>
            <a:ext cx="733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58850">
              <a:spcBef>
                <a:spcPct val="0"/>
              </a:spcBef>
              <a:defRPr sz="1000">
                <a:latin typeface="VWAG TheSans" panose="020B0502050302020203" pitchFamily="34" charset="0"/>
              </a:defRPr>
            </a:lvl1pPr>
          </a:lstStyle>
          <a:p>
            <a:fld id="{04ABC90F-D60A-4D10-BF9C-C7AC7A2BE08A}" type="slidenum">
              <a:rPr lang="de-DE" noProof="0" smtClean="0"/>
              <a:pPr/>
              <a:t>‹#›</a:t>
            </a:fld>
            <a:endParaRPr lang="de-DE" noProof="0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6958" y="6558828"/>
            <a:ext cx="2235613" cy="265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674688">
              <a:spcBef>
                <a:spcPct val="0"/>
              </a:spcBef>
              <a:defRPr sz="1000">
                <a:latin typeface="VWAG TheSans" panose="020B0502050302020203" pitchFamily="34" charset="0"/>
              </a:defRPr>
            </a:lvl1pPr>
          </a:lstStyle>
          <a:p>
            <a:r>
              <a:rPr lang="en-US" noProof="0" smtClean="0"/>
              <a:t>Group Market and Sales Steering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85071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497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5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548438"/>
            <a:ext cx="733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58850">
              <a:spcBef>
                <a:spcPct val="0"/>
              </a:spcBef>
              <a:defRPr sz="1000">
                <a:latin typeface="VWAG TheSans" panose="020B0502050302020203" pitchFamily="34" charset="0"/>
              </a:defRPr>
            </a:lvl1pPr>
          </a:lstStyle>
          <a:p>
            <a:fld id="{04ABC90F-D60A-4D10-BF9C-C7AC7A2BE08A}" type="slidenum">
              <a:rPr lang="de-DE" noProof="0" smtClean="0"/>
              <a:pPr/>
              <a:t>‹#›</a:t>
            </a:fld>
            <a:endParaRPr lang="de-DE" noProof="0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6958" y="6558828"/>
            <a:ext cx="2235613" cy="265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674688">
              <a:spcBef>
                <a:spcPct val="0"/>
              </a:spcBef>
              <a:defRPr sz="1000">
                <a:latin typeface="VWAG TheSans" panose="020B0502050302020203" pitchFamily="34" charset="0"/>
              </a:defRPr>
            </a:lvl1pPr>
          </a:lstStyle>
          <a:p>
            <a:r>
              <a:rPr lang="en-US" noProof="0" smtClean="0"/>
              <a:t>Group Market and Sales Steering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056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3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08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3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</a:pPr>
            <a:endParaRPr lang="en-US" sz="2000" b="1" dirty="0">
              <a:solidFill>
                <a:srgbClr val="FFFFFF"/>
              </a:solidFill>
              <a:latin typeface="VWAG TheSans"/>
              <a:sym typeface="VWAG The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WAG TheSans"/>
                <a:ea typeface="+mj-ea"/>
                <a:cs typeface="+mj-cs"/>
                <a:sym typeface="VWAG TheSans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VWAG TheSans"/>
                <a:ea typeface="宋体"/>
                <a:cs typeface="+mn-cs"/>
                <a:sym typeface="VWAG TheSans"/>
              </a:defRPr>
            </a:lvl1pPr>
          </a:lstStyle>
          <a:p>
            <a:pPr>
              <a:defRPr/>
            </a:pPr>
            <a:fld id="{1D410744-1FE7-4612-AE90-51EA60CCF34E}" type="slidenum">
              <a:rPr lang="zh-CN" altLang="de-DE" smtClean="0"/>
              <a:pPr>
                <a:defRPr/>
              </a:pPr>
              <a:t>‹#›</a:t>
            </a:fld>
            <a:endParaRPr lang="de-DE" altLang="zh-CN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81000" y="6553201"/>
            <a:ext cx="1981200" cy="1524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Group Market and Sales Steeri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6027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1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1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5497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2113" y="1757363"/>
            <a:ext cx="9104312" cy="4589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25497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548438"/>
            <a:ext cx="733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58850">
              <a:spcBef>
                <a:spcPct val="0"/>
              </a:spcBef>
              <a:defRPr sz="1000">
                <a:latin typeface="VWAG TheSans" panose="020B0502050302020203" pitchFamily="34" charset="0"/>
              </a:defRPr>
            </a:lvl1pPr>
          </a:lstStyle>
          <a:p>
            <a:fld id="{04ABC90F-D60A-4D10-BF9C-C7AC7A2BE08A}" type="slidenum">
              <a:rPr lang="de-DE" noProof="0" smtClean="0"/>
              <a:pPr/>
              <a:t>‹#›</a:t>
            </a:fld>
            <a:endParaRPr lang="de-DE" noProof="0" dirty="0"/>
          </a:p>
        </p:txBody>
      </p:sp>
      <p:sp>
        <p:nvSpPr>
          <p:cNvPr id="2549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92113" y="898525"/>
            <a:ext cx="9104312" cy="684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 smtClean="0"/>
              <a:t>Mastertitelformat bearbeiten</a:t>
            </a:r>
          </a:p>
        </p:txBody>
      </p:sp>
      <p:sp>
        <p:nvSpPr>
          <p:cNvPr id="25498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6958" y="6558828"/>
            <a:ext cx="2268271" cy="2229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674688">
              <a:spcBef>
                <a:spcPct val="0"/>
              </a:spcBef>
              <a:defRPr sz="1000">
                <a:latin typeface="VWAG TheSans" panose="020B0502050302020203" pitchFamily="34" charset="0"/>
              </a:defRPr>
            </a:lvl1pPr>
          </a:lstStyle>
          <a:p>
            <a:r>
              <a:rPr lang="en-US" noProof="0" smtClean="0"/>
              <a:t>Group Market and Sales Steering</a:t>
            </a:r>
            <a:endParaRPr lang="de-DE" noProof="0" dirty="0"/>
          </a:p>
        </p:txBody>
      </p:sp>
      <p:sp>
        <p:nvSpPr>
          <p:cNvPr id="254982" name="Line 6"/>
          <p:cNvSpPr>
            <a:spLocks noChangeShapeType="1"/>
          </p:cNvSpPr>
          <p:nvPr/>
        </p:nvSpPr>
        <p:spPr bwMode="auto">
          <a:xfrm>
            <a:off x="392113" y="762000"/>
            <a:ext cx="9102725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noProof="0" dirty="0">
              <a:latin typeface="VWAG TheSans" panose="020B0502050302020203" pitchFamily="34" charset="0"/>
            </a:endParaRPr>
          </a:p>
        </p:txBody>
      </p:sp>
      <p:pic>
        <p:nvPicPr>
          <p:cNvPr id="9" name="Picture 9" descr="VWGCN-en_CO_M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0538" y="304800"/>
            <a:ext cx="12922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0875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2" r:id="rId3"/>
    <p:sldLayoutId id="2147483656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WAG TheSans" panose="020B0502050302020203" pitchFamily="34" charset="0"/>
          <a:ea typeface="+mj-ea"/>
          <a:cs typeface="+mj-cs"/>
        </a:defRPr>
      </a:lvl1pPr>
      <a:lvl2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defRPr>
          <a:solidFill>
            <a:schemeClr val="tx1"/>
          </a:solidFill>
          <a:latin typeface="VWAG TheSans" panose="020B0502050302020203" pitchFamily="34" charset="0"/>
          <a:ea typeface="+mn-ea"/>
          <a:cs typeface="+mn-cs"/>
        </a:defRPr>
      </a:lvl1pPr>
      <a:lvl2pPr marL="1905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2pPr>
      <a:lvl3pPr marL="3810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3pPr>
      <a:lvl4pPr marL="5715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4pPr>
      <a:lvl5pPr marL="7620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5pPr>
      <a:lvl6pPr marL="12192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6pPr>
      <a:lvl7pPr marL="16764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7pPr>
      <a:lvl8pPr marL="21336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8pPr>
      <a:lvl9pPr marL="25908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0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191.xml"/><Relationship Id="rId117" Type="http://schemas.openxmlformats.org/officeDocument/2006/relationships/tags" Target="../tags/tag282.xml"/><Relationship Id="rId21" Type="http://schemas.openxmlformats.org/officeDocument/2006/relationships/tags" Target="../tags/tag186.xml"/><Relationship Id="rId42" Type="http://schemas.openxmlformats.org/officeDocument/2006/relationships/tags" Target="../tags/tag207.xml"/><Relationship Id="rId47" Type="http://schemas.openxmlformats.org/officeDocument/2006/relationships/tags" Target="../tags/tag212.xml"/><Relationship Id="rId63" Type="http://schemas.openxmlformats.org/officeDocument/2006/relationships/tags" Target="../tags/tag228.xml"/><Relationship Id="rId68" Type="http://schemas.openxmlformats.org/officeDocument/2006/relationships/tags" Target="../tags/tag233.xml"/><Relationship Id="rId84" Type="http://schemas.openxmlformats.org/officeDocument/2006/relationships/tags" Target="../tags/tag249.xml"/><Relationship Id="rId89" Type="http://schemas.openxmlformats.org/officeDocument/2006/relationships/tags" Target="../tags/tag254.xml"/><Relationship Id="rId112" Type="http://schemas.openxmlformats.org/officeDocument/2006/relationships/tags" Target="../tags/tag277.xml"/><Relationship Id="rId133" Type="http://schemas.openxmlformats.org/officeDocument/2006/relationships/tags" Target="../tags/tag298.xml"/><Relationship Id="rId138" Type="http://schemas.openxmlformats.org/officeDocument/2006/relationships/tags" Target="../tags/tag303.xml"/><Relationship Id="rId16" Type="http://schemas.openxmlformats.org/officeDocument/2006/relationships/tags" Target="../tags/tag181.xml"/><Relationship Id="rId107" Type="http://schemas.openxmlformats.org/officeDocument/2006/relationships/tags" Target="../tags/tag272.xml"/><Relationship Id="rId11" Type="http://schemas.openxmlformats.org/officeDocument/2006/relationships/tags" Target="../tags/tag176.xml"/><Relationship Id="rId32" Type="http://schemas.openxmlformats.org/officeDocument/2006/relationships/tags" Target="../tags/tag197.xml"/><Relationship Id="rId37" Type="http://schemas.openxmlformats.org/officeDocument/2006/relationships/tags" Target="../tags/tag202.xml"/><Relationship Id="rId53" Type="http://schemas.openxmlformats.org/officeDocument/2006/relationships/tags" Target="../tags/tag218.xml"/><Relationship Id="rId58" Type="http://schemas.openxmlformats.org/officeDocument/2006/relationships/tags" Target="../tags/tag223.xml"/><Relationship Id="rId74" Type="http://schemas.openxmlformats.org/officeDocument/2006/relationships/tags" Target="../tags/tag239.xml"/><Relationship Id="rId79" Type="http://schemas.openxmlformats.org/officeDocument/2006/relationships/tags" Target="../tags/tag244.xml"/><Relationship Id="rId102" Type="http://schemas.openxmlformats.org/officeDocument/2006/relationships/tags" Target="../tags/tag267.xml"/><Relationship Id="rId123" Type="http://schemas.openxmlformats.org/officeDocument/2006/relationships/tags" Target="../tags/tag288.xml"/><Relationship Id="rId128" Type="http://schemas.openxmlformats.org/officeDocument/2006/relationships/tags" Target="../tags/tag293.xml"/><Relationship Id="rId144" Type="http://schemas.openxmlformats.org/officeDocument/2006/relationships/notesSlide" Target="../notesSlides/notesSlide5.xml"/><Relationship Id="rId5" Type="http://schemas.openxmlformats.org/officeDocument/2006/relationships/tags" Target="../tags/tag170.xml"/><Relationship Id="rId90" Type="http://schemas.openxmlformats.org/officeDocument/2006/relationships/tags" Target="../tags/tag255.xml"/><Relationship Id="rId95" Type="http://schemas.openxmlformats.org/officeDocument/2006/relationships/tags" Target="../tags/tag260.xml"/><Relationship Id="rId22" Type="http://schemas.openxmlformats.org/officeDocument/2006/relationships/tags" Target="../tags/tag187.xml"/><Relationship Id="rId27" Type="http://schemas.openxmlformats.org/officeDocument/2006/relationships/tags" Target="../tags/tag192.xml"/><Relationship Id="rId43" Type="http://schemas.openxmlformats.org/officeDocument/2006/relationships/tags" Target="../tags/tag208.xml"/><Relationship Id="rId48" Type="http://schemas.openxmlformats.org/officeDocument/2006/relationships/tags" Target="../tags/tag213.xml"/><Relationship Id="rId64" Type="http://schemas.openxmlformats.org/officeDocument/2006/relationships/tags" Target="../tags/tag229.xml"/><Relationship Id="rId69" Type="http://schemas.openxmlformats.org/officeDocument/2006/relationships/tags" Target="../tags/tag234.xml"/><Relationship Id="rId113" Type="http://schemas.openxmlformats.org/officeDocument/2006/relationships/tags" Target="../tags/tag278.xml"/><Relationship Id="rId118" Type="http://schemas.openxmlformats.org/officeDocument/2006/relationships/tags" Target="../tags/tag283.xml"/><Relationship Id="rId134" Type="http://schemas.openxmlformats.org/officeDocument/2006/relationships/tags" Target="../tags/tag299.xml"/><Relationship Id="rId139" Type="http://schemas.openxmlformats.org/officeDocument/2006/relationships/tags" Target="../tags/tag304.xml"/><Relationship Id="rId80" Type="http://schemas.openxmlformats.org/officeDocument/2006/relationships/tags" Target="../tags/tag245.xml"/><Relationship Id="rId85" Type="http://schemas.openxmlformats.org/officeDocument/2006/relationships/tags" Target="../tags/tag250.xml"/><Relationship Id="rId3" Type="http://schemas.openxmlformats.org/officeDocument/2006/relationships/tags" Target="../tags/tag168.xml"/><Relationship Id="rId12" Type="http://schemas.openxmlformats.org/officeDocument/2006/relationships/tags" Target="../tags/tag177.xml"/><Relationship Id="rId17" Type="http://schemas.openxmlformats.org/officeDocument/2006/relationships/tags" Target="../tags/tag182.xml"/><Relationship Id="rId25" Type="http://schemas.openxmlformats.org/officeDocument/2006/relationships/tags" Target="../tags/tag190.xml"/><Relationship Id="rId33" Type="http://schemas.openxmlformats.org/officeDocument/2006/relationships/tags" Target="../tags/tag198.xml"/><Relationship Id="rId38" Type="http://schemas.openxmlformats.org/officeDocument/2006/relationships/tags" Target="../tags/tag203.xml"/><Relationship Id="rId46" Type="http://schemas.openxmlformats.org/officeDocument/2006/relationships/tags" Target="../tags/tag211.xml"/><Relationship Id="rId59" Type="http://schemas.openxmlformats.org/officeDocument/2006/relationships/tags" Target="../tags/tag224.xml"/><Relationship Id="rId67" Type="http://schemas.openxmlformats.org/officeDocument/2006/relationships/tags" Target="../tags/tag232.xml"/><Relationship Id="rId103" Type="http://schemas.openxmlformats.org/officeDocument/2006/relationships/tags" Target="../tags/tag268.xml"/><Relationship Id="rId108" Type="http://schemas.openxmlformats.org/officeDocument/2006/relationships/tags" Target="../tags/tag273.xml"/><Relationship Id="rId116" Type="http://schemas.openxmlformats.org/officeDocument/2006/relationships/tags" Target="../tags/tag281.xml"/><Relationship Id="rId124" Type="http://schemas.openxmlformats.org/officeDocument/2006/relationships/tags" Target="../tags/tag289.xml"/><Relationship Id="rId129" Type="http://schemas.openxmlformats.org/officeDocument/2006/relationships/tags" Target="../tags/tag294.xml"/><Relationship Id="rId137" Type="http://schemas.openxmlformats.org/officeDocument/2006/relationships/tags" Target="../tags/tag302.xml"/><Relationship Id="rId20" Type="http://schemas.openxmlformats.org/officeDocument/2006/relationships/tags" Target="../tags/tag185.xml"/><Relationship Id="rId41" Type="http://schemas.openxmlformats.org/officeDocument/2006/relationships/tags" Target="../tags/tag206.xml"/><Relationship Id="rId54" Type="http://schemas.openxmlformats.org/officeDocument/2006/relationships/tags" Target="../tags/tag219.xml"/><Relationship Id="rId62" Type="http://schemas.openxmlformats.org/officeDocument/2006/relationships/tags" Target="../tags/tag227.xml"/><Relationship Id="rId70" Type="http://schemas.openxmlformats.org/officeDocument/2006/relationships/tags" Target="../tags/tag235.xml"/><Relationship Id="rId75" Type="http://schemas.openxmlformats.org/officeDocument/2006/relationships/tags" Target="../tags/tag240.xml"/><Relationship Id="rId83" Type="http://schemas.openxmlformats.org/officeDocument/2006/relationships/tags" Target="../tags/tag248.xml"/><Relationship Id="rId88" Type="http://schemas.openxmlformats.org/officeDocument/2006/relationships/tags" Target="../tags/tag253.xml"/><Relationship Id="rId91" Type="http://schemas.openxmlformats.org/officeDocument/2006/relationships/tags" Target="../tags/tag256.xml"/><Relationship Id="rId96" Type="http://schemas.openxmlformats.org/officeDocument/2006/relationships/tags" Target="../tags/tag261.xml"/><Relationship Id="rId111" Type="http://schemas.openxmlformats.org/officeDocument/2006/relationships/tags" Target="../tags/tag276.xml"/><Relationship Id="rId132" Type="http://schemas.openxmlformats.org/officeDocument/2006/relationships/tags" Target="../tags/tag297.xml"/><Relationship Id="rId140" Type="http://schemas.openxmlformats.org/officeDocument/2006/relationships/tags" Target="../tags/tag305.xml"/><Relationship Id="rId145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171.xml"/><Relationship Id="rId15" Type="http://schemas.openxmlformats.org/officeDocument/2006/relationships/tags" Target="../tags/tag180.xml"/><Relationship Id="rId23" Type="http://schemas.openxmlformats.org/officeDocument/2006/relationships/tags" Target="../tags/tag188.xml"/><Relationship Id="rId28" Type="http://schemas.openxmlformats.org/officeDocument/2006/relationships/tags" Target="../tags/tag193.xml"/><Relationship Id="rId36" Type="http://schemas.openxmlformats.org/officeDocument/2006/relationships/tags" Target="../tags/tag201.xml"/><Relationship Id="rId49" Type="http://schemas.openxmlformats.org/officeDocument/2006/relationships/tags" Target="../tags/tag214.xml"/><Relationship Id="rId57" Type="http://schemas.openxmlformats.org/officeDocument/2006/relationships/tags" Target="../tags/tag222.xml"/><Relationship Id="rId106" Type="http://schemas.openxmlformats.org/officeDocument/2006/relationships/tags" Target="../tags/tag271.xml"/><Relationship Id="rId114" Type="http://schemas.openxmlformats.org/officeDocument/2006/relationships/tags" Target="../tags/tag279.xml"/><Relationship Id="rId119" Type="http://schemas.openxmlformats.org/officeDocument/2006/relationships/tags" Target="../tags/tag284.xml"/><Relationship Id="rId127" Type="http://schemas.openxmlformats.org/officeDocument/2006/relationships/tags" Target="../tags/tag292.xml"/><Relationship Id="rId10" Type="http://schemas.openxmlformats.org/officeDocument/2006/relationships/tags" Target="../tags/tag175.xml"/><Relationship Id="rId31" Type="http://schemas.openxmlformats.org/officeDocument/2006/relationships/tags" Target="../tags/tag196.xml"/><Relationship Id="rId44" Type="http://schemas.openxmlformats.org/officeDocument/2006/relationships/tags" Target="../tags/tag209.xml"/><Relationship Id="rId52" Type="http://schemas.openxmlformats.org/officeDocument/2006/relationships/tags" Target="../tags/tag217.xml"/><Relationship Id="rId60" Type="http://schemas.openxmlformats.org/officeDocument/2006/relationships/tags" Target="../tags/tag225.xml"/><Relationship Id="rId65" Type="http://schemas.openxmlformats.org/officeDocument/2006/relationships/tags" Target="../tags/tag230.xml"/><Relationship Id="rId73" Type="http://schemas.openxmlformats.org/officeDocument/2006/relationships/tags" Target="../tags/tag238.xml"/><Relationship Id="rId78" Type="http://schemas.openxmlformats.org/officeDocument/2006/relationships/tags" Target="../tags/tag243.xml"/><Relationship Id="rId81" Type="http://schemas.openxmlformats.org/officeDocument/2006/relationships/tags" Target="../tags/tag246.xml"/><Relationship Id="rId86" Type="http://schemas.openxmlformats.org/officeDocument/2006/relationships/tags" Target="../tags/tag251.xml"/><Relationship Id="rId94" Type="http://schemas.openxmlformats.org/officeDocument/2006/relationships/tags" Target="../tags/tag259.xml"/><Relationship Id="rId99" Type="http://schemas.openxmlformats.org/officeDocument/2006/relationships/tags" Target="../tags/tag264.xml"/><Relationship Id="rId101" Type="http://schemas.openxmlformats.org/officeDocument/2006/relationships/tags" Target="../tags/tag266.xml"/><Relationship Id="rId122" Type="http://schemas.openxmlformats.org/officeDocument/2006/relationships/tags" Target="../tags/tag287.xml"/><Relationship Id="rId130" Type="http://schemas.openxmlformats.org/officeDocument/2006/relationships/tags" Target="../tags/tag295.xml"/><Relationship Id="rId135" Type="http://schemas.openxmlformats.org/officeDocument/2006/relationships/tags" Target="../tags/tag300.xml"/><Relationship Id="rId143" Type="http://schemas.openxmlformats.org/officeDocument/2006/relationships/slideLayout" Target="../slideLayouts/slideLayout2.xml"/><Relationship Id="rId148" Type="http://schemas.openxmlformats.org/officeDocument/2006/relationships/chart" Target="../charts/chart6.xml"/><Relationship Id="rId4" Type="http://schemas.openxmlformats.org/officeDocument/2006/relationships/tags" Target="../tags/tag169.xml"/><Relationship Id="rId9" Type="http://schemas.openxmlformats.org/officeDocument/2006/relationships/tags" Target="../tags/tag174.xml"/><Relationship Id="rId13" Type="http://schemas.openxmlformats.org/officeDocument/2006/relationships/tags" Target="../tags/tag178.xml"/><Relationship Id="rId18" Type="http://schemas.openxmlformats.org/officeDocument/2006/relationships/tags" Target="../tags/tag183.xml"/><Relationship Id="rId39" Type="http://schemas.openxmlformats.org/officeDocument/2006/relationships/tags" Target="../tags/tag204.xml"/><Relationship Id="rId109" Type="http://schemas.openxmlformats.org/officeDocument/2006/relationships/tags" Target="../tags/tag274.xml"/><Relationship Id="rId34" Type="http://schemas.openxmlformats.org/officeDocument/2006/relationships/tags" Target="../tags/tag199.xml"/><Relationship Id="rId50" Type="http://schemas.openxmlformats.org/officeDocument/2006/relationships/tags" Target="../tags/tag215.xml"/><Relationship Id="rId55" Type="http://schemas.openxmlformats.org/officeDocument/2006/relationships/tags" Target="../tags/tag220.xml"/><Relationship Id="rId76" Type="http://schemas.openxmlformats.org/officeDocument/2006/relationships/tags" Target="../tags/tag241.xml"/><Relationship Id="rId97" Type="http://schemas.openxmlformats.org/officeDocument/2006/relationships/tags" Target="../tags/tag262.xml"/><Relationship Id="rId104" Type="http://schemas.openxmlformats.org/officeDocument/2006/relationships/tags" Target="../tags/tag269.xml"/><Relationship Id="rId120" Type="http://schemas.openxmlformats.org/officeDocument/2006/relationships/tags" Target="../tags/tag285.xml"/><Relationship Id="rId125" Type="http://schemas.openxmlformats.org/officeDocument/2006/relationships/tags" Target="../tags/tag290.xml"/><Relationship Id="rId141" Type="http://schemas.openxmlformats.org/officeDocument/2006/relationships/tags" Target="../tags/tag306.xml"/><Relationship Id="rId146" Type="http://schemas.openxmlformats.org/officeDocument/2006/relationships/image" Target="../media/image6.emf"/><Relationship Id="rId7" Type="http://schemas.openxmlformats.org/officeDocument/2006/relationships/tags" Target="../tags/tag172.xml"/><Relationship Id="rId71" Type="http://schemas.openxmlformats.org/officeDocument/2006/relationships/tags" Target="../tags/tag236.xml"/><Relationship Id="rId92" Type="http://schemas.openxmlformats.org/officeDocument/2006/relationships/tags" Target="../tags/tag257.xml"/><Relationship Id="rId2" Type="http://schemas.openxmlformats.org/officeDocument/2006/relationships/tags" Target="../tags/tag167.xml"/><Relationship Id="rId29" Type="http://schemas.openxmlformats.org/officeDocument/2006/relationships/tags" Target="../tags/tag194.xml"/><Relationship Id="rId24" Type="http://schemas.openxmlformats.org/officeDocument/2006/relationships/tags" Target="../tags/tag189.xml"/><Relationship Id="rId40" Type="http://schemas.openxmlformats.org/officeDocument/2006/relationships/tags" Target="../tags/tag205.xml"/><Relationship Id="rId45" Type="http://schemas.openxmlformats.org/officeDocument/2006/relationships/tags" Target="../tags/tag210.xml"/><Relationship Id="rId66" Type="http://schemas.openxmlformats.org/officeDocument/2006/relationships/tags" Target="../tags/tag231.xml"/><Relationship Id="rId87" Type="http://schemas.openxmlformats.org/officeDocument/2006/relationships/tags" Target="../tags/tag252.xml"/><Relationship Id="rId110" Type="http://schemas.openxmlformats.org/officeDocument/2006/relationships/tags" Target="../tags/tag275.xml"/><Relationship Id="rId115" Type="http://schemas.openxmlformats.org/officeDocument/2006/relationships/tags" Target="../tags/tag280.xml"/><Relationship Id="rId131" Type="http://schemas.openxmlformats.org/officeDocument/2006/relationships/tags" Target="../tags/tag296.xml"/><Relationship Id="rId136" Type="http://schemas.openxmlformats.org/officeDocument/2006/relationships/tags" Target="../tags/tag301.xml"/><Relationship Id="rId61" Type="http://schemas.openxmlformats.org/officeDocument/2006/relationships/tags" Target="../tags/tag226.xml"/><Relationship Id="rId82" Type="http://schemas.openxmlformats.org/officeDocument/2006/relationships/tags" Target="../tags/tag247.xml"/><Relationship Id="rId19" Type="http://schemas.openxmlformats.org/officeDocument/2006/relationships/tags" Target="../tags/tag184.xml"/><Relationship Id="rId14" Type="http://schemas.openxmlformats.org/officeDocument/2006/relationships/tags" Target="../tags/tag179.xml"/><Relationship Id="rId30" Type="http://schemas.openxmlformats.org/officeDocument/2006/relationships/tags" Target="../tags/tag195.xml"/><Relationship Id="rId35" Type="http://schemas.openxmlformats.org/officeDocument/2006/relationships/tags" Target="../tags/tag200.xml"/><Relationship Id="rId56" Type="http://schemas.openxmlformats.org/officeDocument/2006/relationships/tags" Target="../tags/tag221.xml"/><Relationship Id="rId77" Type="http://schemas.openxmlformats.org/officeDocument/2006/relationships/tags" Target="../tags/tag242.xml"/><Relationship Id="rId100" Type="http://schemas.openxmlformats.org/officeDocument/2006/relationships/tags" Target="../tags/tag265.xml"/><Relationship Id="rId105" Type="http://schemas.openxmlformats.org/officeDocument/2006/relationships/tags" Target="../tags/tag270.xml"/><Relationship Id="rId126" Type="http://schemas.openxmlformats.org/officeDocument/2006/relationships/tags" Target="../tags/tag291.xml"/><Relationship Id="rId147" Type="http://schemas.openxmlformats.org/officeDocument/2006/relationships/chart" Target="../charts/chart5.xml"/><Relationship Id="rId8" Type="http://schemas.openxmlformats.org/officeDocument/2006/relationships/tags" Target="../tags/tag173.xml"/><Relationship Id="rId51" Type="http://schemas.openxmlformats.org/officeDocument/2006/relationships/tags" Target="../tags/tag216.xml"/><Relationship Id="rId72" Type="http://schemas.openxmlformats.org/officeDocument/2006/relationships/tags" Target="../tags/tag237.xml"/><Relationship Id="rId93" Type="http://schemas.openxmlformats.org/officeDocument/2006/relationships/tags" Target="../tags/tag258.xml"/><Relationship Id="rId98" Type="http://schemas.openxmlformats.org/officeDocument/2006/relationships/tags" Target="../tags/tag263.xml"/><Relationship Id="rId121" Type="http://schemas.openxmlformats.org/officeDocument/2006/relationships/tags" Target="../tags/tag286.xml"/><Relationship Id="rId142" Type="http://schemas.openxmlformats.org/officeDocument/2006/relationships/tags" Target="../tags/tag307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319.xml"/><Relationship Id="rId18" Type="http://schemas.openxmlformats.org/officeDocument/2006/relationships/tags" Target="../tags/tag324.xml"/><Relationship Id="rId26" Type="http://schemas.openxmlformats.org/officeDocument/2006/relationships/tags" Target="../tags/tag332.xml"/><Relationship Id="rId39" Type="http://schemas.openxmlformats.org/officeDocument/2006/relationships/tags" Target="../tags/tag345.xml"/><Relationship Id="rId3" Type="http://schemas.openxmlformats.org/officeDocument/2006/relationships/tags" Target="../tags/tag309.xml"/><Relationship Id="rId21" Type="http://schemas.openxmlformats.org/officeDocument/2006/relationships/tags" Target="../tags/tag327.xml"/><Relationship Id="rId34" Type="http://schemas.openxmlformats.org/officeDocument/2006/relationships/tags" Target="../tags/tag340.xml"/><Relationship Id="rId42" Type="http://schemas.openxmlformats.org/officeDocument/2006/relationships/tags" Target="../tags/tag348.xml"/><Relationship Id="rId47" Type="http://schemas.openxmlformats.org/officeDocument/2006/relationships/oleObject" Target="../embeddings/oleObject15.bin"/><Relationship Id="rId7" Type="http://schemas.openxmlformats.org/officeDocument/2006/relationships/tags" Target="../tags/tag313.xml"/><Relationship Id="rId12" Type="http://schemas.openxmlformats.org/officeDocument/2006/relationships/tags" Target="../tags/tag318.xml"/><Relationship Id="rId17" Type="http://schemas.openxmlformats.org/officeDocument/2006/relationships/tags" Target="../tags/tag323.xml"/><Relationship Id="rId25" Type="http://schemas.openxmlformats.org/officeDocument/2006/relationships/tags" Target="../tags/tag331.xml"/><Relationship Id="rId33" Type="http://schemas.openxmlformats.org/officeDocument/2006/relationships/tags" Target="../tags/tag339.xml"/><Relationship Id="rId38" Type="http://schemas.openxmlformats.org/officeDocument/2006/relationships/tags" Target="../tags/tag344.xml"/><Relationship Id="rId46" Type="http://schemas.openxmlformats.org/officeDocument/2006/relationships/slideLayout" Target="../slideLayouts/slideLayout2.xml"/><Relationship Id="rId2" Type="http://schemas.openxmlformats.org/officeDocument/2006/relationships/tags" Target="../tags/tag308.xml"/><Relationship Id="rId16" Type="http://schemas.openxmlformats.org/officeDocument/2006/relationships/tags" Target="../tags/tag322.xml"/><Relationship Id="rId20" Type="http://schemas.openxmlformats.org/officeDocument/2006/relationships/tags" Target="../tags/tag326.xml"/><Relationship Id="rId29" Type="http://schemas.openxmlformats.org/officeDocument/2006/relationships/tags" Target="../tags/tag335.xml"/><Relationship Id="rId41" Type="http://schemas.openxmlformats.org/officeDocument/2006/relationships/tags" Target="../tags/tag347.xml"/><Relationship Id="rId1" Type="http://schemas.openxmlformats.org/officeDocument/2006/relationships/vmlDrawing" Target="../drawings/vmlDrawing15.vml"/><Relationship Id="rId6" Type="http://schemas.openxmlformats.org/officeDocument/2006/relationships/tags" Target="../tags/tag312.xml"/><Relationship Id="rId11" Type="http://schemas.openxmlformats.org/officeDocument/2006/relationships/tags" Target="../tags/tag317.xml"/><Relationship Id="rId24" Type="http://schemas.openxmlformats.org/officeDocument/2006/relationships/tags" Target="../tags/tag330.xml"/><Relationship Id="rId32" Type="http://schemas.openxmlformats.org/officeDocument/2006/relationships/tags" Target="../tags/tag338.xml"/><Relationship Id="rId37" Type="http://schemas.openxmlformats.org/officeDocument/2006/relationships/tags" Target="../tags/tag343.xml"/><Relationship Id="rId40" Type="http://schemas.openxmlformats.org/officeDocument/2006/relationships/tags" Target="../tags/tag346.xml"/><Relationship Id="rId45" Type="http://schemas.openxmlformats.org/officeDocument/2006/relationships/tags" Target="../tags/tag351.xml"/><Relationship Id="rId5" Type="http://schemas.openxmlformats.org/officeDocument/2006/relationships/tags" Target="../tags/tag311.xml"/><Relationship Id="rId15" Type="http://schemas.openxmlformats.org/officeDocument/2006/relationships/tags" Target="../tags/tag321.xml"/><Relationship Id="rId23" Type="http://schemas.openxmlformats.org/officeDocument/2006/relationships/tags" Target="../tags/tag329.xml"/><Relationship Id="rId28" Type="http://schemas.openxmlformats.org/officeDocument/2006/relationships/tags" Target="../tags/tag334.xml"/><Relationship Id="rId36" Type="http://schemas.openxmlformats.org/officeDocument/2006/relationships/tags" Target="../tags/tag342.xml"/><Relationship Id="rId49" Type="http://schemas.openxmlformats.org/officeDocument/2006/relationships/chart" Target="../charts/chart7.xml"/><Relationship Id="rId10" Type="http://schemas.openxmlformats.org/officeDocument/2006/relationships/tags" Target="../tags/tag316.xml"/><Relationship Id="rId19" Type="http://schemas.openxmlformats.org/officeDocument/2006/relationships/tags" Target="../tags/tag325.xml"/><Relationship Id="rId31" Type="http://schemas.openxmlformats.org/officeDocument/2006/relationships/tags" Target="../tags/tag337.xml"/><Relationship Id="rId44" Type="http://schemas.openxmlformats.org/officeDocument/2006/relationships/tags" Target="../tags/tag350.xml"/><Relationship Id="rId4" Type="http://schemas.openxmlformats.org/officeDocument/2006/relationships/tags" Target="../tags/tag310.xml"/><Relationship Id="rId9" Type="http://schemas.openxmlformats.org/officeDocument/2006/relationships/tags" Target="../tags/tag315.xml"/><Relationship Id="rId14" Type="http://schemas.openxmlformats.org/officeDocument/2006/relationships/tags" Target="../tags/tag320.xml"/><Relationship Id="rId22" Type="http://schemas.openxmlformats.org/officeDocument/2006/relationships/tags" Target="../tags/tag328.xml"/><Relationship Id="rId27" Type="http://schemas.openxmlformats.org/officeDocument/2006/relationships/tags" Target="../tags/tag333.xml"/><Relationship Id="rId30" Type="http://schemas.openxmlformats.org/officeDocument/2006/relationships/tags" Target="../tags/tag336.xml"/><Relationship Id="rId35" Type="http://schemas.openxmlformats.org/officeDocument/2006/relationships/tags" Target="../tags/tag341.xml"/><Relationship Id="rId43" Type="http://schemas.openxmlformats.org/officeDocument/2006/relationships/tags" Target="../tags/tag349.xml"/><Relationship Id="rId48" Type="http://schemas.openxmlformats.org/officeDocument/2006/relationships/image" Target="../media/image6.emf"/><Relationship Id="rId8" Type="http://schemas.openxmlformats.org/officeDocument/2006/relationships/tags" Target="../tags/tag3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53.xml"/><Relationship Id="rId7" Type="http://schemas.openxmlformats.org/officeDocument/2006/relationships/chart" Target="../charts/chart8.xml"/><Relationship Id="rId2" Type="http://schemas.openxmlformats.org/officeDocument/2006/relationships/tags" Target="../tags/tag35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60.xml"/><Relationship Id="rId13" Type="http://schemas.openxmlformats.org/officeDocument/2006/relationships/tags" Target="../tags/tag365.xml"/><Relationship Id="rId18" Type="http://schemas.openxmlformats.org/officeDocument/2006/relationships/tags" Target="../tags/tag370.xml"/><Relationship Id="rId26" Type="http://schemas.openxmlformats.org/officeDocument/2006/relationships/tags" Target="../tags/tag378.xml"/><Relationship Id="rId3" Type="http://schemas.openxmlformats.org/officeDocument/2006/relationships/tags" Target="../tags/tag355.xml"/><Relationship Id="rId21" Type="http://schemas.openxmlformats.org/officeDocument/2006/relationships/tags" Target="../tags/tag373.xml"/><Relationship Id="rId34" Type="http://schemas.openxmlformats.org/officeDocument/2006/relationships/image" Target="../media/image6.emf"/><Relationship Id="rId7" Type="http://schemas.openxmlformats.org/officeDocument/2006/relationships/tags" Target="../tags/tag359.xml"/><Relationship Id="rId12" Type="http://schemas.openxmlformats.org/officeDocument/2006/relationships/tags" Target="../tags/tag364.xml"/><Relationship Id="rId17" Type="http://schemas.openxmlformats.org/officeDocument/2006/relationships/tags" Target="../tags/tag369.xml"/><Relationship Id="rId25" Type="http://schemas.openxmlformats.org/officeDocument/2006/relationships/tags" Target="../tags/tag377.xml"/><Relationship Id="rId33" Type="http://schemas.openxmlformats.org/officeDocument/2006/relationships/oleObject" Target="../embeddings/oleObject17.bin"/><Relationship Id="rId2" Type="http://schemas.openxmlformats.org/officeDocument/2006/relationships/tags" Target="../tags/tag354.xml"/><Relationship Id="rId16" Type="http://schemas.openxmlformats.org/officeDocument/2006/relationships/tags" Target="../tags/tag368.xml"/><Relationship Id="rId20" Type="http://schemas.openxmlformats.org/officeDocument/2006/relationships/tags" Target="../tags/tag372.xml"/><Relationship Id="rId29" Type="http://schemas.openxmlformats.org/officeDocument/2006/relationships/tags" Target="../tags/tag381.xml"/><Relationship Id="rId1" Type="http://schemas.openxmlformats.org/officeDocument/2006/relationships/vmlDrawing" Target="../drawings/vmlDrawing17.vml"/><Relationship Id="rId6" Type="http://schemas.openxmlformats.org/officeDocument/2006/relationships/tags" Target="../tags/tag358.xml"/><Relationship Id="rId11" Type="http://schemas.openxmlformats.org/officeDocument/2006/relationships/tags" Target="../tags/tag363.xml"/><Relationship Id="rId24" Type="http://schemas.openxmlformats.org/officeDocument/2006/relationships/tags" Target="../tags/tag376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357.xml"/><Relationship Id="rId15" Type="http://schemas.openxmlformats.org/officeDocument/2006/relationships/tags" Target="../tags/tag367.xml"/><Relationship Id="rId23" Type="http://schemas.openxmlformats.org/officeDocument/2006/relationships/tags" Target="../tags/tag375.xml"/><Relationship Id="rId28" Type="http://schemas.openxmlformats.org/officeDocument/2006/relationships/tags" Target="../tags/tag380.xml"/><Relationship Id="rId10" Type="http://schemas.openxmlformats.org/officeDocument/2006/relationships/tags" Target="../tags/tag362.xml"/><Relationship Id="rId19" Type="http://schemas.openxmlformats.org/officeDocument/2006/relationships/tags" Target="../tags/tag371.xml"/><Relationship Id="rId31" Type="http://schemas.openxmlformats.org/officeDocument/2006/relationships/tags" Target="../tags/tag383.xml"/><Relationship Id="rId4" Type="http://schemas.openxmlformats.org/officeDocument/2006/relationships/tags" Target="../tags/tag356.xml"/><Relationship Id="rId9" Type="http://schemas.openxmlformats.org/officeDocument/2006/relationships/tags" Target="../tags/tag361.xml"/><Relationship Id="rId14" Type="http://schemas.openxmlformats.org/officeDocument/2006/relationships/tags" Target="../tags/tag366.xml"/><Relationship Id="rId22" Type="http://schemas.openxmlformats.org/officeDocument/2006/relationships/tags" Target="../tags/tag374.xml"/><Relationship Id="rId27" Type="http://schemas.openxmlformats.org/officeDocument/2006/relationships/tags" Target="../tags/tag379.xml"/><Relationship Id="rId30" Type="http://schemas.openxmlformats.org/officeDocument/2006/relationships/tags" Target="../tags/tag382.xml"/><Relationship Id="rId35" Type="http://schemas.openxmlformats.org/officeDocument/2006/relationships/chart" Target="../charts/chart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385.xml"/><Relationship Id="rId7" Type="http://schemas.openxmlformats.org/officeDocument/2006/relationships/image" Target="../media/image6.emf"/><Relationship Id="rId2" Type="http://schemas.openxmlformats.org/officeDocument/2006/relationships/tags" Target="../tags/tag384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392.xml"/><Relationship Id="rId13" Type="http://schemas.openxmlformats.org/officeDocument/2006/relationships/tags" Target="../tags/tag397.xml"/><Relationship Id="rId18" Type="http://schemas.openxmlformats.org/officeDocument/2006/relationships/tags" Target="../tags/tag402.xml"/><Relationship Id="rId26" Type="http://schemas.openxmlformats.org/officeDocument/2006/relationships/tags" Target="../tags/tag410.xml"/><Relationship Id="rId3" Type="http://schemas.openxmlformats.org/officeDocument/2006/relationships/tags" Target="../tags/tag387.xml"/><Relationship Id="rId21" Type="http://schemas.openxmlformats.org/officeDocument/2006/relationships/tags" Target="../tags/tag405.xml"/><Relationship Id="rId34" Type="http://schemas.openxmlformats.org/officeDocument/2006/relationships/image" Target="../media/image6.emf"/><Relationship Id="rId7" Type="http://schemas.openxmlformats.org/officeDocument/2006/relationships/tags" Target="../tags/tag391.xml"/><Relationship Id="rId12" Type="http://schemas.openxmlformats.org/officeDocument/2006/relationships/tags" Target="../tags/tag396.xml"/><Relationship Id="rId17" Type="http://schemas.openxmlformats.org/officeDocument/2006/relationships/tags" Target="../tags/tag401.xml"/><Relationship Id="rId25" Type="http://schemas.openxmlformats.org/officeDocument/2006/relationships/tags" Target="../tags/tag409.xml"/><Relationship Id="rId33" Type="http://schemas.openxmlformats.org/officeDocument/2006/relationships/oleObject" Target="../embeddings/oleObject19.bin"/><Relationship Id="rId2" Type="http://schemas.openxmlformats.org/officeDocument/2006/relationships/tags" Target="../tags/tag386.xml"/><Relationship Id="rId16" Type="http://schemas.openxmlformats.org/officeDocument/2006/relationships/tags" Target="../tags/tag400.xml"/><Relationship Id="rId20" Type="http://schemas.openxmlformats.org/officeDocument/2006/relationships/tags" Target="../tags/tag404.xml"/><Relationship Id="rId29" Type="http://schemas.openxmlformats.org/officeDocument/2006/relationships/tags" Target="../tags/tag413.xml"/><Relationship Id="rId1" Type="http://schemas.openxmlformats.org/officeDocument/2006/relationships/vmlDrawing" Target="../drawings/vmlDrawing19.vml"/><Relationship Id="rId6" Type="http://schemas.openxmlformats.org/officeDocument/2006/relationships/tags" Target="../tags/tag390.xml"/><Relationship Id="rId11" Type="http://schemas.openxmlformats.org/officeDocument/2006/relationships/tags" Target="../tags/tag395.xml"/><Relationship Id="rId24" Type="http://schemas.openxmlformats.org/officeDocument/2006/relationships/tags" Target="../tags/tag408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389.xml"/><Relationship Id="rId15" Type="http://schemas.openxmlformats.org/officeDocument/2006/relationships/tags" Target="../tags/tag399.xml"/><Relationship Id="rId23" Type="http://schemas.openxmlformats.org/officeDocument/2006/relationships/tags" Target="../tags/tag407.xml"/><Relationship Id="rId28" Type="http://schemas.openxmlformats.org/officeDocument/2006/relationships/tags" Target="../tags/tag412.xml"/><Relationship Id="rId10" Type="http://schemas.openxmlformats.org/officeDocument/2006/relationships/tags" Target="../tags/tag394.xml"/><Relationship Id="rId19" Type="http://schemas.openxmlformats.org/officeDocument/2006/relationships/tags" Target="../tags/tag403.xml"/><Relationship Id="rId31" Type="http://schemas.openxmlformats.org/officeDocument/2006/relationships/tags" Target="../tags/tag415.xml"/><Relationship Id="rId4" Type="http://schemas.openxmlformats.org/officeDocument/2006/relationships/tags" Target="../tags/tag388.xml"/><Relationship Id="rId9" Type="http://schemas.openxmlformats.org/officeDocument/2006/relationships/tags" Target="../tags/tag393.xml"/><Relationship Id="rId14" Type="http://schemas.openxmlformats.org/officeDocument/2006/relationships/tags" Target="../tags/tag398.xml"/><Relationship Id="rId22" Type="http://schemas.openxmlformats.org/officeDocument/2006/relationships/tags" Target="../tags/tag406.xml"/><Relationship Id="rId27" Type="http://schemas.openxmlformats.org/officeDocument/2006/relationships/tags" Target="../tags/tag411.xml"/><Relationship Id="rId30" Type="http://schemas.openxmlformats.org/officeDocument/2006/relationships/tags" Target="../tags/tag414.xml"/><Relationship Id="rId35" Type="http://schemas.openxmlformats.org/officeDocument/2006/relationships/chart" Target="../charts/char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17.xml"/><Relationship Id="rId2" Type="http://schemas.openxmlformats.org/officeDocument/2006/relationships/tags" Target="../tags/tag41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429.xml"/><Relationship Id="rId18" Type="http://schemas.openxmlformats.org/officeDocument/2006/relationships/tags" Target="../tags/tag434.xml"/><Relationship Id="rId26" Type="http://schemas.openxmlformats.org/officeDocument/2006/relationships/tags" Target="../tags/tag442.xml"/><Relationship Id="rId39" Type="http://schemas.openxmlformats.org/officeDocument/2006/relationships/tags" Target="../tags/tag455.xml"/><Relationship Id="rId21" Type="http://schemas.openxmlformats.org/officeDocument/2006/relationships/tags" Target="../tags/tag437.xml"/><Relationship Id="rId34" Type="http://schemas.openxmlformats.org/officeDocument/2006/relationships/tags" Target="../tags/tag450.xml"/><Relationship Id="rId42" Type="http://schemas.openxmlformats.org/officeDocument/2006/relationships/tags" Target="../tags/tag458.xml"/><Relationship Id="rId47" Type="http://schemas.openxmlformats.org/officeDocument/2006/relationships/tags" Target="../tags/tag463.xml"/><Relationship Id="rId50" Type="http://schemas.openxmlformats.org/officeDocument/2006/relationships/tags" Target="../tags/tag466.xml"/><Relationship Id="rId55" Type="http://schemas.openxmlformats.org/officeDocument/2006/relationships/tags" Target="../tags/tag471.xml"/><Relationship Id="rId63" Type="http://schemas.openxmlformats.org/officeDocument/2006/relationships/tags" Target="../tags/tag479.xml"/><Relationship Id="rId68" Type="http://schemas.openxmlformats.org/officeDocument/2006/relationships/tags" Target="../tags/tag484.xml"/><Relationship Id="rId76" Type="http://schemas.openxmlformats.org/officeDocument/2006/relationships/chart" Target="../charts/chart12.xml"/><Relationship Id="rId7" Type="http://schemas.openxmlformats.org/officeDocument/2006/relationships/tags" Target="../tags/tag423.xml"/><Relationship Id="rId71" Type="http://schemas.openxmlformats.org/officeDocument/2006/relationships/tags" Target="../tags/tag487.xml"/><Relationship Id="rId2" Type="http://schemas.openxmlformats.org/officeDocument/2006/relationships/tags" Target="../tags/tag418.xml"/><Relationship Id="rId16" Type="http://schemas.openxmlformats.org/officeDocument/2006/relationships/tags" Target="../tags/tag432.xml"/><Relationship Id="rId29" Type="http://schemas.openxmlformats.org/officeDocument/2006/relationships/tags" Target="../tags/tag445.xml"/><Relationship Id="rId11" Type="http://schemas.openxmlformats.org/officeDocument/2006/relationships/tags" Target="../tags/tag427.xml"/><Relationship Id="rId24" Type="http://schemas.openxmlformats.org/officeDocument/2006/relationships/tags" Target="../tags/tag440.xml"/><Relationship Id="rId32" Type="http://schemas.openxmlformats.org/officeDocument/2006/relationships/tags" Target="../tags/tag448.xml"/><Relationship Id="rId37" Type="http://schemas.openxmlformats.org/officeDocument/2006/relationships/tags" Target="../tags/tag453.xml"/><Relationship Id="rId40" Type="http://schemas.openxmlformats.org/officeDocument/2006/relationships/tags" Target="../tags/tag456.xml"/><Relationship Id="rId45" Type="http://schemas.openxmlformats.org/officeDocument/2006/relationships/tags" Target="../tags/tag461.xml"/><Relationship Id="rId53" Type="http://schemas.openxmlformats.org/officeDocument/2006/relationships/tags" Target="../tags/tag469.xml"/><Relationship Id="rId58" Type="http://schemas.openxmlformats.org/officeDocument/2006/relationships/tags" Target="../tags/tag474.xml"/><Relationship Id="rId66" Type="http://schemas.openxmlformats.org/officeDocument/2006/relationships/tags" Target="../tags/tag482.xml"/><Relationship Id="rId74" Type="http://schemas.openxmlformats.org/officeDocument/2006/relationships/oleObject" Target="../embeddings/oleObject21.bin"/><Relationship Id="rId5" Type="http://schemas.openxmlformats.org/officeDocument/2006/relationships/tags" Target="../tags/tag421.xml"/><Relationship Id="rId15" Type="http://schemas.openxmlformats.org/officeDocument/2006/relationships/tags" Target="../tags/tag431.xml"/><Relationship Id="rId23" Type="http://schemas.openxmlformats.org/officeDocument/2006/relationships/tags" Target="../tags/tag439.xml"/><Relationship Id="rId28" Type="http://schemas.openxmlformats.org/officeDocument/2006/relationships/tags" Target="../tags/tag444.xml"/><Relationship Id="rId36" Type="http://schemas.openxmlformats.org/officeDocument/2006/relationships/tags" Target="../tags/tag452.xml"/><Relationship Id="rId49" Type="http://schemas.openxmlformats.org/officeDocument/2006/relationships/tags" Target="../tags/tag465.xml"/><Relationship Id="rId57" Type="http://schemas.openxmlformats.org/officeDocument/2006/relationships/tags" Target="../tags/tag473.xml"/><Relationship Id="rId61" Type="http://schemas.openxmlformats.org/officeDocument/2006/relationships/tags" Target="../tags/tag477.xml"/><Relationship Id="rId10" Type="http://schemas.openxmlformats.org/officeDocument/2006/relationships/tags" Target="../tags/tag426.xml"/><Relationship Id="rId19" Type="http://schemas.openxmlformats.org/officeDocument/2006/relationships/tags" Target="../tags/tag435.xml"/><Relationship Id="rId31" Type="http://schemas.openxmlformats.org/officeDocument/2006/relationships/tags" Target="../tags/tag447.xml"/><Relationship Id="rId44" Type="http://schemas.openxmlformats.org/officeDocument/2006/relationships/tags" Target="../tags/tag460.xml"/><Relationship Id="rId52" Type="http://schemas.openxmlformats.org/officeDocument/2006/relationships/tags" Target="../tags/tag468.xml"/><Relationship Id="rId60" Type="http://schemas.openxmlformats.org/officeDocument/2006/relationships/tags" Target="../tags/tag476.xml"/><Relationship Id="rId65" Type="http://schemas.openxmlformats.org/officeDocument/2006/relationships/tags" Target="../tags/tag481.xml"/><Relationship Id="rId73" Type="http://schemas.openxmlformats.org/officeDocument/2006/relationships/notesSlide" Target="../notesSlides/notesSlide7.xml"/><Relationship Id="rId4" Type="http://schemas.openxmlformats.org/officeDocument/2006/relationships/tags" Target="../tags/tag420.xml"/><Relationship Id="rId9" Type="http://schemas.openxmlformats.org/officeDocument/2006/relationships/tags" Target="../tags/tag425.xml"/><Relationship Id="rId14" Type="http://schemas.openxmlformats.org/officeDocument/2006/relationships/tags" Target="../tags/tag430.xml"/><Relationship Id="rId22" Type="http://schemas.openxmlformats.org/officeDocument/2006/relationships/tags" Target="../tags/tag438.xml"/><Relationship Id="rId27" Type="http://schemas.openxmlformats.org/officeDocument/2006/relationships/tags" Target="../tags/tag443.xml"/><Relationship Id="rId30" Type="http://schemas.openxmlformats.org/officeDocument/2006/relationships/tags" Target="../tags/tag446.xml"/><Relationship Id="rId35" Type="http://schemas.openxmlformats.org/officeDocument/2006/relationships/tags" Target="../tags/tag451.xml"/><Relationship Id="rId43" Type="http://schemas.openxmlformats.org/officeDocument/2006/relationships/tags" Target="../tags/tag459.xml"/><Relationship Id="rId48" Type="http://schemas.openxmlformats.org/officeDocument/2006/relationships/tags" Target="../tags/tag464.xml"/><Relationship Id="rId56" Type="http://schemas.openxmlformats.org/officeDocument/2006/relationships/tags" Target="../tags/tag472.xml"/><Relationship Id="rId64" Type="http://schemas.openxmlformats.org/officeDocument/2006/relationships/tags" Target="../tags/tag480.xml"/><Relationship Id="rId69" Type="http://schemas.openxmlformats.org/officeDocument/2006/relationships/tags" Target="../tags/tag485.xml"/><Relationship Id="rId8" Type="http://schemas.openxmlformats.org/officeDocument/2006/relationships/tags" Target="../tags/tag424.xml"/><Relationship Id="rId51" Type="http://schemas.openxmlformats.org/officeDocument/2006/relationships/tags" Target="../tags/tag467.xml"/><Relationship Id="rId72" Type="http://schemas.openxmlformats.org/officeDocument/2006/relationships/slideLayout" Target="../slideLayouts/slideLayout2.xml"/><Relationship Id="rId3" Type="http://schemas.openxmlformats.org/officeDocument/2006/relationships/tags" Target="../tags/tag419.xml"/><Relationship Id="rId12" Type="http://schemas.openxmlformats.org/officeDocument/2006/relationships/tags" Target="../tags/tag428.xml"/><Relationship Id="rId17" Type="http://schemas.openxmlformats.org/officeDocument/2006/relationships/tags" Target="../tags/tag433.xml"/><Relationship Id="rId25" Type="http://schemas.openxmlformats.org/officeDocument/2006/relationships/tags" Target="../tags/tag441.xml"/><Relationship Id="rId33" Type="http://schemas.openxmlformats.org/officeDocument/2006/relationships/tags" Target="../tags/tag449.xml"/><Relationship Id="rId38" Type="http://schemas.openxmlformats.org/officeDocument/2006/relationships/tags" Target="../tags/tag454.xml"/><Relationship Id="rId46" Type="http://schemas.openxmlformats.org/officeDocument/2006/relationships/tags" Target="../tags/tag462.xml"/><Relationship Id="rId59" Type="http://schemas.openxmlformats.org/officeDocument/2006/relationships/tags" Target="../tags/tag475.xml"/><Relationship Id="rId67" Type="http://schemas.openxmlformats.org/officeDocument/2006/relationships/tags" Target="../tags/tag483.xml"/><Relationship Id="rId20" Type="http://schemas.openxmlformats.org/officeDocument/2006/relationships/tags" Target="../tags/tag436.xml"/><Relationship Id="rId41" Type="http://schemas.openxmlformats.org/officeDocument/2006/relationships/tags" Target="../tags/tag457.xml"/><Relationship Id="rId54" Type="http://schemas.openxmlformats.org/officeDocument/2006/relationships/tags" Target="../tags/tag470.xml"/><Relationship Id="rId62" Type="http://schemas.openxmlformats.org/officeDocument/2006/relationships/tags" Target="../tags/tag478.xml"/><Relationship Id="rId70" Type="http://schemas.openxmlformats.org/officeDocument/2006/relationships/tags" Target="../tags/tag486.xml"/><Relationship Id="rId75" Type="http://schemas.openxmlformats.org/officeDocument/2006/relationships/image" Target="../media/image6.emf"/><Relationship Id="rId1" Type="http://schemas.openxmlformats.org/officeDocument/2006/relationships/vmlDrawing" Target="../drawings/vmlDrawing21.vml"/><Relationship Id="rId6" Type="http://schemas.openxmlformats.org/officeDocument/2006/relationships/tags" Target="../tags/tag422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499.xml"/><Relationship Id="rId18" Type="http://schemas.openxmlformats.org/officeDocument/2006/relationships/tags" Target="../tags/tag504.xml"/><Relationship Id="rId26" Type="http://schemas.openxmlformats.org/officeDocument/2006/relationships/tags" Target="../tags/tag512.xml"/><Relationship Id="rId39" Type="http://schemas.openxmlformats.org/officeDocument/2006/relationships/tags" Target="../tags/tag525.xml"/><Relationship Id="rId21" Type="http://schemas.openxmlformats.org/officeDocument/2006/relationships/tags" Target="../tags/tag507.xml"/><Relationship Id="rId34" Type="http://schemas.openxmlformats.org/officeDocument/2006/relationships/tags" Target="../tags/tag520.xml"/><Relationship Id="rId42" Type="http://schemas.openxmlformats.org/officeDocument/2006/relationships/tags" Target="../tags/tag528.xml"/><Relationship Id="rId47" Type="http://schemas.openxmlformats.org/officeDocument/2006/relationships/tags" Target="../tags/tag533.xml"/><Relationship Id="rId50" Type="http://schemas.openxmlformats.org/officeDocument/2006/relationships/tags" Target="../tags/tag536.xml"/><Relationship Id="rId55" Type="http://schemas.openxmlformats.org/officeDocument/2006/relationships/tags" Target="../tags/tag541.xml"/><Relationship Id="rId63" Type="http://schemas.openxmlformats.org/officeDocument/2006/relationships/tags" Target="../tags/tag549.xml"/><Relationship Id="rId68" Type="http://schemas.openxmlformats.org/officeDocument/2006/relationships/tags" Target="../tags/tag554.xml"/><Relationship Id="rId76" Type="http://schemas.openxmlformats.org/officeDocument/2006/relationships/chart" Target="../charts/chart13.xml"/><Relationship Id="rId7" Type="http://schemas.openxmlformats.org/officeDocument/2006/relationships/tags" Target="../tags/tag493.xml"/><Relationship Id="rId71" Type="http://schemas.openxmlformats.org/officeDocument/2006/relationships/tags" Target="../tags/tag557.xml"/><Relationship Id="rId2" Type="http://schemas.openxmlformats.org/officeDocument/2006/relationships/tags" Target="../tags/tag488.xml"/><Relationship Id="rId16" Type="http://schemas.openxmlformats.org/officeDocument/2006/relationships/tags" Target="../tags/tag502.xml"/><Relationship Id="rId29" Type="http://schemas.openxmlformats.org/officeDocument/2006/relationships/tags" Target="../tags/tag515.xml"/><Relationship Id="rId11" Type="http://schemas.openxmlformats.org/officeDocument/2006/relationships/tags" Target="../tags/tag497.xml"/><Relationship Id="rId24" Type="http://schemas.openxmlformats.org/officeDocument/2006/relationships/tags" Target="../tags/tag510.xml"/><Relationship Id="rId32" Type="http://schemas.openxmlformats.org/officeDocument/2006/relationships/tags" Target="../tags/tag518.xml"/><Relationship Id="rId37" Type="http://schemas.openxmlformats.org/officeDocument/2006/relationships/tags" Target="../tags/tag523.xml"/><Relationship Id="rId40" Type="http://schemas.openxmlformats.org/officeDocument/2006/relationships/tags" Target="../tags/tag526.xml"/><Relationship Id="rId45" Type="http://schemas.openxmlformats.org/officeDocument/2006/relationships/tags" Target="../tags/tag531.xml"/><Relationship Id="rId53" Type="http://schemas.openxmlformats.org/officeDocument/2006/relationships/tags" Target="../tags/tag539.xml"/><Relationship Id="rId58" Type="http://schemas.openxmlformats.org/officeDocument/2006/relationships/tags" Target="../tags/tag544.xml"/><Relationship Id="rId66" Type="http://schemas.openxmlformats.org/officeDocument/2006/relationships/tags" Target="../tags/tag552.xml"/><Relationship Id="rId74" Type="http://schemas.openxmlformats.org/officeDocument/2006/relationships/oleObject" Target="../embeddings/oleObject22.bin"/><Relationship Id="rId5" Type="http://schemas.openxmlformats.org/officeDocument/2006/relationships/tags" Target="../tags/tag491.xml"/><Relationship Id="rId15" Type="http://schemas.openxmlformats.org/officeDocument/2006/relationships/tags" Target="../tags/tag501.xml"/><Relationship Id="rId23" Type="http://schemas.openxmlformats.org/officeDocument/2006/relationships/tags" Target="../tags/tag509.xml"/><Relationship Id="rId28" Type="http://schemas.openxmlformats.org/officeDocument/2006/relationships/tags" Target="../tags/tag514.xml"/><Relationship Id="rId36" Type="http://schemas.openxmlformats.org/officeDocument/2006/relationships/tags" Target="../tags/tag522.xml"/><Relationship Id="rId49" Type="http://schemas.openxmlformats.org/officeDocument/2006/relationships/tags" Target="../tags/tag535.xml"/><Relationship Id="rId57" Type="http://schemas.openxmlformats.org/officeDocument/2006/relationships/tags" Target="../tags/tag543.xml"/><Relationship Id="rId61" Type="http://schemas.openxmlformats.org/officeDocument/2006/relationships/tags" Target="../tags/tag547.xml"/><Relationship Id="rId10" Type="http://schemas.openxmlformats.org/officeDocument/2006/relationships/tags" Target="../tags/tag496.xml"/><Relationship Id="rId19" Type="http://schemas.openxmlformats.org/officeDocument/2006/relationships/tags" Target="../tags/tag505.xml"/><Relationship Id="rId31" Type="http://schemas.openxmlformats.org/officeDocument/2006/relationships/tags" Target="../tags/tag517.xml"/><Relationship Id="rId44" Type="http://schemas.openxmlformats.org/officeDocument/2006/relationships/tags" Target="../tags/tag530.xml"/><Relationship Id="rId52" Type="http://schemas.openxmlformats.org/officeDocument/2006/relationships/tags" Target="../tags/tag538.xml"/><Relationship Id="rId60" Type="http://schemas.openxmlformats.org/officeDocument/2006/relationships/tags" Target="../tags/tag546.xml"/><Relationship Id="rId65" Type="http://schemas.openxmlformats.org/officeDocument/2006/relationships/tags" Target="../tags/tag551.xml"/><Relationship Id="rId73" Type="http://schemas.openxmlformats.org/officeDocument/2006/relationships/notesSlide" Target="../notesSlides/notesSlide8.xml"/><Relationship Id="rId4" Type="http://schemas.openxmlformats.org/officeDocument/2006/relationships/tags" Target="../tags/tag490.xml"/><Relationship Id="rId9" Type="http://schemas.openxmlformats.org/officeDocument/2006/relationships/tags" Target="../tags/tag495.xml"/><Relationship Id="rId14" Type="http://schemas.openxmlformats.org/officeDocument/2006/relationships/tags" Target="../tags/tag500.xml"/><Relationship Id="rId22" Type="http://schemas.openxmlformats.org/officeDocument/2006/relationships/tags" Target="../tags/tag508.xml"/><Relationship Id="rId27" Type="http://schemas.openxmlformats.org/officeDocument/2006/relationships/tags" Target="../tags/tag513.xml"/><Relationship Id="rId30" Type="http://schemas.openxmlformats.org/officeDocument/2006/relationships/tags" Target="../tags/tag516.xml"/><Relationship Id="rId35" Type="http://schemas.openxmlformats.org/officeDocument/2006/relationships/tags" Target="../tags/tag521.xml"/><Relationship Id="rId43" Type="http://schemas.openxmlformats.org/officeDocument/2006/relationships/tags" Target="../tags/tag529.xml"/><Relationship Id="rId48" Type="http://schemas.openxmlformats.org/officeDocument/2006/relationships/tags" Target="../tags/tag534.xml"/><Relationship Id="rId56" Type="http://schemas.openxmlformats.org/officeDocument/2006/relationships/tags" Target="../tags/tag542.xml"/><Relationship Id="rId64" Type="http://schemas.openxmlformats.org/officeDocument/2006/relationships/tags" Target="../tags/tag550.xml"/><Relationship Id="rId69" Type="http://schemas.openxmlformats.org/officeDocument/2006/relationships/tags" Target="../tags/tag555.xml"/><Relationship Id="rId8" Type="http://schemas.openxmlformats.org/officeDocument/2006/relationships/tags" Target="../tags/tag494.xml"/><Relationship Id="rId51" Type="http://schemas.openxmlformats.org/officeDocument/2006/relationships/tags" Target="../tags/tag537.xml"/><Relationship Id="rId72" Type="http://schemas.openxmlformats.org/officeDocument/2006/relationships/slideLayout" Target="../slideLayouts/slideLayout2.xml"/><Relationship Id="rId3" Type="http://schemas.openxmlformats.org/officeDocument/2006/relationships/tags" Target="../tags/tag489.xml"/><Relationship Id="rId12" Type="http://schemas.openxmlformats.org/officeDocument/2006/relationships/tags" Target="../tags/tag498.xml"/><Relationship Id="rId17" Type="http://schemas.openxmlformats.org/officeDocument/2006/relationships/tags" Target="../tags/tag503.xml"/><Relationship Id="rId25" Type="http://schemas.openxmlformats.org/officeDocument/2006/relationships/tags" Target="../tags/tag511.xml"/><Relationship Id="rId33" Type="http://schemas.openxmlformats.org/officeDocument/2006/relationships/tags" Target="../tags/tag519.xml"/><Relationship Id="rId38" Type="http://schemas.openxmlformats.org/officeDocument/2006/relationships/tags" Target="../tags/tag524.xml"/><Relationship Id="rId46" Type="http://schemas.openxmlformats.org/officeDocument/2006/relationships/tags" Target="../tags/tag532.xml"/><Relationship Id="rId59" Type="http://schemas.openxmlformats.org/officeDocument/2006/relationships/tags" Target="../tags/tag545.xml"/><Relationship Id="rId67" Type="http://schemas.openxmlformats.org/officeDocument/2006/relationships/tags" Target="../tags/tag553.xml"/><Relationship Id="rId20" Type="http://schemas.openxmlformats.org/officeDocument/2006/relationships/tags" Target="../tags/tag506.xml"/><Relationship Id="rId41" Type="http://schemas.openxmlformats.org/officeDocument/2006/relationships/tags" Target="../tags/tag527.xml"/><Relationship Id="rId54" Type="http://schemas.openxmlformats.org/officeDocument/2006/relationships/tags" Target="../tags/tag540.xml"/><Relationship Id="rId62" Type="http://schemas.openxmlformats.org/officeDocument/2006/relationships/tags" Target="../tags/tag548.xml"/><Relationship Id="rId70" Type="http://schemas.openxmlformats.org/officeDocument/2006/relationships/tags" Target="../tags/tag556.xml"/><Relationship Id="rId75" Type="http://schemas.openxmlformats.org/officeDocument/2006/relationships/image" Target="../media/image6.emf"/><Relationship Id="rId1" Type="http://schemas.openxmlformats.org/officeDocument/2006/relationships/vmlDrawing" Target="../drawings/vmlDrawing22.vml"/><Relationship Id="rId6" Type="http://schemas.openxmlformats.org/officeDocument/2006/relationships/tags" Target="../tags/tag492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569.xml"/><Relationship Id="rId18" Type="http://schemas.openxmlformats.org/officeDocument/2006/relationships/tags" Target="../tags/tag574.xml"/><Relationship Id="rId26" Type="http://schemas.openxmlformats.org/officeDocument/2006/relationships/tags" Target="../tags/tag582.xml"/><Relationship Id="rId39" Type="http://schemas.openxmlformats.org/officeDocument/2006/relationships/tags" Target="../tags/tag595.xml"/><Relationship Id="rId3" Type="http://schemas.openxmlformats.org/officeDocument/2006/relationships/tags" Target="../tags/tag559.xml"/><Relationship Id="rId21" Type="http://schemas.openxmlformats.org/officeDocument/2006/relationships/tags" Target="../tags/tag577.xml"/><Relationship Id="rId34" Type="http://schemas.openxmlformats.org/officeDocument/2006/relationships/tags" Target="../tags/tag590.xml"/><Relationship Id="rId42" Type="http://schemas.openxmlformats.org/officeDocument/2006/relationships/tags" Target="../tags/tag598.xml"/><Relationship Id="rId47" Type="http://schemas.openxmlformats.org/officeDocument/2006/relationships/notesSlide" Target="../notesSlides/notesSlide9.xml"/><Relationship Id="rId50" Type="http://schemas.openxmlformats.org/officeDocument/2006/relationships/chart" Target="../charts/chart14.xml"/><Relationship Id="rId7" Type="http://schemas.openxmlformats.org/officeDocument/2006/relationships/tags" Target="../tags/tag563.xml"/><Relationship Id="rId12" Type="http://schemas.openxmlformats.org/officeDocument/2006/relationships/tags" Target="../tags/tag568.xml"/><Relationship Id="rId17" Type="http://schemas.openxmlformats.org/officeDocument/2006/relationships/tags" Target="../tags/tag573.xml"/><Relationship Id="rId25" Type="http://schemas.openxmlformats.org/officeDocument/2006/relationships/tags" Target="../tags/tag581.xml"/><Relationship Id="rId33" Type="http://schemas.openxmlformats.org/officeDocument/2006/relationships/tags" Target="../tags/tag589.xml"/><Relationship Id="rId38" Type="http://schemas.openxmlformats.org/officeDocument/2006/relationships/tags" Target="../tags/tag594.xml"/><Relationship Id="rId46" Type="http://schemas.openxmlformats.org/officeDocument/2006/relationships/slideLayout" Target="../slideLayouts/slideLayout2.xml"/><Relationship Id="rId2" Type="http://schemas.openxmlformats.org/officeDocument/2006/relationships/tags" Target="../tags/tag558.xml"/><Relationship Id="rId16" Type="http://schemas.openxmlformats.org/officeDocument/2006/relationships/tags" Target="../tags/tag572.xml"/><Relationship Id="rId20" Type="http://schemas.openxmlformats.org/officeDocument/2006/relationships/tags" Target="../tags/tag576.xml"/><Relationship Id="rId29" Type="http://schemas.openxmlformats.org/officeDocument/2006/relationships/tags" Target="../tags/tag585.xml"/><Relationship Id="rId41" Type="http://schemas.openxmlformats.org/officeDocument/2006/relationships/tags" Target="../tags/tag597.xml"/><Relationship Id="rId1" Type="http://schemas.openxmlformats.org/officeDocument/2006/relationships/vmlDrawing" Target="../drawings/vmlDrawing23.vml"/><Relationship Id="rId6" Type="http://schemas.openxmlformats.org/officeDocument/2006/relationships/tags" Target="../tags/tag562.xml"/><Relationship Id="rId11" Type="http://schemas.openxmlformats.org/officeDocument/2006/relationships/tags" Target="../tags/tag567.xml"/><Relationship Id="rId24" Type="http://schemas.openxmlformats.org/officeDocument/2006/relationships/tags" Target="../tags/tag580.xml"/><Relationship Id="rId32" Type="http://schemas.openxmlformats.org/officeDocument/2006/relationships/tags" Target="../tags/tag588.xml"/><Relationship Id="rId37" Type="http://schemas.openxmlformats.org/officeDocument/2006/relationships/tags" Target="../tags/tag593.xml"/><Relationship Id="rId40" Type="http://schemas.openxmlformats.org/officeDocument/2006/relationships/tags" Target="../tags/tag596.xml"/><Relationship Id="rId45" Type="http://schemas.openxmlformats.org/officeDocument/2006/relationships/tags" Target="../tags/tag601.xml"/><Relationship Id="rId5" Type="http://schemas.openxmlformats.org/officeDocument/2006/relationships/tags" Target="../tags/tag561.xml"/><Relationship Id="rId15" Type="http://schemas.openxmlformats.org/officeDocument/2006/relationships/tags" Target="../tags/tag571.xml"/><Relationship Id="rId23" Type="http://schemas.openxmlformats.org/officeDocument/2006/relationships/tags" Target="../tags/tag579.xml"/><Relationship Id="rId28" Type="http://schemas.openxmlformats.org/officeDocument/2006/relationships/tags" Target="../tags/tag584.xml"/><Relationship Id="rId36" Type="http://schemas.openxmlformats.org/officeDocument/2006/relationships/tags" Target="../tags/tag592.xml"/><Relationship Id="rId49" Type="http://schemas.openxmlformats.org/officeDocument/2006/relationships/image" Target="../media/image6.emf"/><Relationship Id="rId10" Type="http://schemas.openxmlformats.org/officeDocument/2006/relationships/tags" Target="../tags/tag566.xml"/><Relationship Id="rId19" Type="http://schemas.openxmlformats.org/officeDocument/2006/relationships/tags" Target="../tags/tag575.xml"/><Relationship Id="rId31" Type="http://schemas.openxmlformats.org/officeDocument/2006/relationships/tags" Target="../tags/tag587.xml"/><Relationship Id="rId44" Type="http://schemas.openxmlformats.org/officeDocument/2006/relationships/tags" Target="../tags/tag600.xml"/><Relationship Id="rId4" Type="http://schemas.openxmlformats.org/officeDocument/2006/relationships/tags" Target="../tags/tag560.xml"/><Relationship Id="rId9" Type="http://schemas.openxmlformats.org/officeDocument/2006/relationships/tags" Target="../tags/tag565.xml"/><Relationship Id="rId14" Type="http://schemas.openxmlformats.org/officeDocument/2006/relationships/tags" Target="../tags/tag570.xml"/><Relationship Id="rId22" Type="http://schemas.openxmlformats.org/officeDocument/2006/relationships/tags" Target="../tags/tag578.xml"/><Relationship Id="rId27" Type="http://schemas.openxmlformats.org/officeDocument/2006/relationships/tags" Target="../tags/tag583.xml"/><Relationship Id="rId30" Type="http://schemas.openxmlformats.org/officeDocument/2006/relationships/tags" Target="../tags/tag586.xml"/><Relationship Id="rId35" Type="http://schemas.openxmlformats.org/officeDocument/2006/relationships/tags" Target="../tags/tag591.xml"/><Relationship Id="rId43" Type="http://schemas.openxmlformats.org/officeDocument/2006/relationships/tags" Target="../tags/tag599.xml"/><Relationship Id="rId48" Type="http://schemas.openxmlformats.org/officeDocument/2006/relationships/oleObject" Target="../embeddings/oleObject23.bin"/><Relationship Id="rId8" Type="http://schemas.openxmlformats.org/officeDocument/2006/relationships/tags" Target="../tags/tag56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613.xml"/><Relationship Id="rId18" Type="http://schemas.openxmlformats.org/officeDocument/2006/relationships/tags" Target="../tags/tag618.xml"/><Relationship Id="rId26" Type="http://schemas.openxmlformats.org/officeDocument/2006/relationships/tags" Target="../tags/tag626.xml"/><Relationship Id="rId39" Type="http://schemas.openxmlformats.org/officeDocument/2006/relationships/tags" Target="../tags/tag639.xml"/><Relationship Id="rId3" Type="http://schemas.openxmlformats.org/officeDocument/2006/relationships/tags" Target="../tags/tag603.xml"/><Relationship Id="rId21" Type="http://schemas.openxmlformats.org/officeDocument/2006/relationships/tags" Target="../tags/tag621.xml"/><Relationship Id="rId34" Type="http://schemas.openxmlformats.org/officeDocument/2006/relationships/tags" Target="../tags/tag634.xml"/><Relationship Id="rId42" Type="http://schemas.openxmlformats.org/officeDocument/2006/relationships/tags" Target="../tags/tag642.xml"/><Relationship Id="rId47" Type="http://schemas.openxmlformats.org/officeDocument/2006/relationships/notesSlide" Target="../notesSlides/notesSlide10.xml"/><Relationship Id="rId50" Type="http://schemas.openxmlformats.org/officeDocument/2006/relationships/chart" Target="../charts/chart15.xml"/><Relationship Id="rId7" Type="http://schemas.openxmlformats.org/officeDocument/2006/relationships/tags" Target="../tags/tag607.xml"/><Relationship Id="rId12" Type="http://schemas.openxmlformats.org/officeDocument/2006/relationships/tags" Target="../tags/tag612.xml"/><Relationship Id="rId17" Type="http://schemas.openxmlformats.org/officeDocument/2006/relationships/tags" Target="../tags/tag617.xml"/><Relationship Id="rId25" Type="http://schemas.openxmlformats.org/officeDocument/2006/relationships/tags" Target="../tags/tag625.xml"/><Relationship Id="rId33" Type="http://schemas.openxmlformats.org/officeDocument/2006/relationships/tags" Target="../tags/tag633.xml"/><Relationship Id="rId38" Type="http://schemas.openxmlformats.org/officeDocument/2006/relationships/tags" Target="../tags/tag638.xml"/><Relationship Id="rId46" Type="http://schemas.openxmlformats.org/officeDocument/2006/relationships/slideLayout" Target="../slideLayouts/slideLayout2.xml"/><Relationship Id="rId2" Type="http://schemas.openxmlformats.org/officeDocument/2006/relationships/tags" Target="../tags/tag602.xml"/><Relationship Id="rId16" Type="http://schemas.openxmlformats.org/officeDocument/2006/relationships/tags" Target="../tags/tag616.xml"/><Relationship Id="rId20" Type="http://schemas.openxmlformats.org/officeDocument/2006/relationships/tags" Target="../tags/tag620.xml"/><Relationship Id="rId29" Type="http://schemas.openxmlformats.org/officeDocument/2006/relationships/tags" Target="../tags/tag629.xml"/><Relationship Id="rId41" Type="http://schemas.openxmlformats.org/officeDocument/2006/relationships/tags" Target="../tags/tag641.xml"/><Relationship Id="rId1" Type="http://schemas.openxmlformats.org/officeDocument/2006/relationships/vmlDrawing" Target="../drawings/vmlDrawing24.vml"/><Relationship Id="rId6" Type="http://schemas.openxmlformats.org/officeDocument/2006/relationships/tags" Target="../tags/tag606.xml"/><Relationship Id="rId11" Type="http://schemas.openxmlformats.org/officeDocument/2006/relationships/tags" Target="../tags/tag611.xml"/><Relationship Id="rId24" Type="http://schemas.openxmlformats.org/officeDocument/2006/relationships/tags" Target="../tags/tag624.xml"/><Relationship Id="rId32" Type="http://schemas.openxmlformats.org/officeDocument/2006/relationships/tags" Target="../tags/tag632.xml"/><Relationship Id="rId37" Type="http://schemas.openxmlformats.org/officeDocument/2006/relationships/tags" Target="../tags/tag637.xml"/><Relationship Id="rId40" Type="http://schemas.openxmlformats.org/officeDocument/2006/relationships/tags" Target="../tags/tag640.xml"/><Relationship Id="rId45" Type="http://schemas.openxmlformats.org/officeDocument/2006/relationships/tags" Target="../tags/tag645.xml"/><Relationship Id="rId5" Type="http://schemas.openxmlformats.org/officeDocument/2006/relationships/tags" Target="../tags/tag605.xml"/><Relationship Id="rId15" Type="http://schemas.openxmlformats.org/officeDocument/2006/relationships/tags" Target="../tags/tag615.xml"/><Relationship Id="rId23" Type="http://schemas.openxmlformats.org/officeDocument/2006/relationships/tags" Target="../tags/tag623.xml"/><Relationship Id="rId28" Type="http://schemas.openxmlformats.org/officeDocument/2006/relationships/tags" Target="../tags/tag628.xml"/><Relationship Id="rId36" Type="http://schemas.openxmlformats.org/officeDocument/2006/relationships/tags" Target="../tags/tag636.xml"/><Relationship Id="rId49" Type="http://schemas.openxmlformats.org/officeDocument/2006/relationships/image" Target="../media/image6.emf"/><Relationship Id="rId10" Type="http://schemas.openxmlformats.org/officeDocument/2006/relationships/tags" Target="../tags/tag610.xml"/><Relationship Id="rId19" Type="http://schemas.openxmlformats.org/officeDocument/2006/relationships/tags" Target="../tags/tag619.xml"/><Relationship Id="rId31" Type="http://schemas.openxmlformats.org/officeDocument/2006/relationships/tags" Target="../tags/tag631.xml"/><Relationship Id="rId44" Type="http://schemas.openxmlformats.org/officeDocument/2006/relationships/tags" Target="../tags/tag644.xml"/><Relationship Id="rId4" Type="http://schemas.openxmlformats.org/officeDocument/2006/relationships/tags" Target="../tags/tag604.xml"/><Relationship Id="rId9" Type="http://schemas.openxmlformats.org/officeDocument/2006/relationships/tags" Target="../tags/tag609.xml"/><Relationship Id="rId14" Type="http://schemas.openxmlformats.org/officeDocument/2006/relationships/tags" Target="../tags/tag614.xml"/><Relationship Id="rId22" Type="http://schemas.openxmlformats.org/officeDocument/2006/relationships/tags" Target="../tags/tag622.xml"/><Relationship Id="rId27" Type="http://schemas.openxmlformats.org/officeDocument/2006/relationships/tags" Target="../tags/tag627.xml"/><Relationship Id="rId30" Type="http://schemas.openxmlformats.org/officeDocument/2006/relationships/tags" Target="../tags/tag630.xml"/><Relationship Id="rId35" Type="http://schemas.openxmlformats.org/officeDocument/2006/relationships/tags" Target="../tags/tag635.xml"/><Relationship Id="rId43" Type="http://schemas.openxmlformats.org/officeDocument/2006/relationships/tags" Target="../tags/tag643.xml"/><Relationship Id="rId48" Type="http://schemas.openxmlformats.org/officeDocument/2006/relationships/oleObject" Target="../embeddings/oleObject24.bin"/><Relationship Id="rId8" Type="http://schemas.openxmlformats.org/officeDocument/2006/relationships/tags" Target="../tags/tag60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652.xml"/><Relationship Id="rId13" Type="http://schemas.openxmlformats.org/officeDocument/2006/relationships/tags" Target="../tags/tag657.xml"/><Relationship Id="rId18" Type="http://schemas.openxmlformats.org/officeDocument/2006/relationships/tags" Target="../tags/tag662.xml"/><Relationship Id="rId26" Type="http://schemas.openxmlformats.org/officeDocument/2006/relationships/tags" Target="../tags/tag670.xml"/><Relationship Id="rId3" Type="http://schemas.openxmlformats.org/officeDocument/2006/relationships/tags" Target="../tags/tag647.xml"/><Relationship Id="rId21" Type="http://schemas.openxmlformats.org/officeDocument/2006/relationships/tags" Target="../tags/tag665.xml"/><Relationship Id="rId34" Type="http://schemas.openxmlformats.org/officeDocument/2006/relationships/image" Target="../media/image6.emf"/><Relationship Id="rId7" Type="http://schemas.openxmlformats.org/officeDocument/2006/relationships/tags" Target="../tags/tag651.xml"/><Relationship Id="rId12" Type="http://schemas.openxmlformats.org/officeDocument/2006/relationships/tags" Target="../tags/tag656.xml"/><Relationship Id="rId17" Type="http://schemas.openxmlformats.org/officeDocument/2006/relationships/tags" Target="../tags/tag661.xml"/><Relationship Id="rId25" Type="http://schemas.openxmlformats.org/officeDocument/2006/relationships/tags" Target="../tags/tag669.xml"/><Relationship Id="rId33" Type="http://schemas.openxmlformats.org/officeDocument/2006/relationships/oleObject" Target="../embeddings/oleObject25.bin"/><Relationship Id="rId2" Type="http://schemas.openxmlformats.org/officeDocument/2006/relationships/tags" Target="../tags/tag646.xml"/><Relationship Id="rId16" Type="http://schemas.openxmlformats.org/officeDocument/2006/relationships/tags" Target="../tags/tag660.xml"/><Relationship Id="rId20" Type="http://schemas.openxmlformats.org/officeDocument/2006/relationships/tags" Target="../tags/tag664.xml"/><Relationship Id="rId29" Type="http://schemas.openxmlformats.org/officeDocument/2006/relationships/tags" Target="../tags/tag673.xml"/><Relationship Id="rId1" Type="http://schemas.openxmlformats.org/officeDocument/2006/relationships/vmlDrawing" Target="../drawings/vmlDrawing25.vml"/><Relationship Id="rId6" Type="http://schemas.openxmlformats.org/officeDocument/2006/relationships/tags" Target="../tags/tag650.xml"/><Relationship Id="rId11" Type="http://schemas.openxmlformats.org/officeDocument/2006/relationships/tags" Target="../tags/tag655.xml"/><Relationship Id="rId24" Type="http://schemas.openxmlformats.org/officeDocument/2006/relationships/tags" Target="../tags/tag668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649.xml"/><Relationship Id="rId15" Type="http://schemas.openxmlformats.org/officeDocument/2006/relationships/tags" Target="../tags/tag659.xml"/><Relationship Id="rId23" Type="http://schemas.openxmlformats.org/officeDocument/2006/relationships/tags" Target="../tags/tag667.xml"/><Relationship Id="rId28" Type="http://schemas.openxmlformats.org/officeDocument/2006/relationships/tags" Target="../tags/tag672.xml"/><Relationship Id="rId10" Type="http://schemas.openxmlformats.org/officeDocument/2006/relationships/tags" Target="../tags/tag654.xml"/><Relationship Id="rId19" Type="http://schemas.openxmlformats.org/officeDocument/2006/relationships/tags" Target="../tags/tag663.xml"/><Relationship Id="rId31" Type="http://schemas.openxmlformats.org/officeDocument/2006/relationships/tags" Target="../tags/tag675.xml"/><Relationship Id="rId4" Type="http://schemas.openxmlformats.org/officeDocument/2006/relationships/tags" Target="../tags/tag648.xml"/><Relationship Id="rId9" Type="http://schemas.openxmlformats.org/officeDocument/2006/relationships/tags" Target="../tags/tag653.xml"/><Relationship Id="rId14" Type="http://schemas.openxmlformats.org/officeDocument/2006/relationships/tags" Target="../tags/tag658.xml"/><Relationship Id="rId22" Type="http://schemas.openxmlformats.org/officeDocument/2006/relationships/tags" Target="../tags/tag666.xml"/><Relationship Id="rId27" Type="http://schemas.openxmlformats.org/officeDocument/2006/relationships/tags" Target="../tags/tag671.xml"/><Relationship Id="rId30" Type="http://schemas.openxmlformats.org/officeDocument/2006/relationships/tags" Target="../tags/tag674.xml"/><Relationship Id="rId35" Type="http://schemas.openxmlformats.org/officeDocument/2006/relationships/chart" Target="../charts/chart1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682.xml"/><Relationship Id="rId13" Type="http://schemas.openxmlformats.org/officeDocument/2006/relationships/tags" Target="../tags/tag687.xml"/><Relationship Id="rId18" Type="http://schemas.openxmlformats.org/officeDocument/2006/relationships/tags" Target="../tags/tag692.xml"/><Relationship Id="rId26" Type="http://schemas.openxmlformats.org/officeDocument/2006/relationships/tags" Target="../tags/tag700.xml"/><Relationship Id="rId3" Type="http://schemas.openxmlformats.org/officeDocument/2006/relationships/tags" Target="../tags/tag677.xml"/><Relationship Id="rId21" Type="http://schemas.openxmlformats.org/officeDocument/2006/relationships/tags" Target="../tags/tag695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681.xml"/><Relationship Id="rId12" Type="http://schemas.openxmlformats.org/officeDocument/2006/relationships/tags" Target="../tags/tag686.xml"/><Relationship Id="rId17" Type="http://schemas.openxmlformats.org/officeDocument/2006/relationships/tags" Target="../tags/tag691.xml"/><Relationship Id="rId25" Type="http://schemas.openxmlformats.org/officeDocument/2006/relationships/tags" Target="../tags/tag699.xml"/><Relationship Id="rId33" Type="http://schemas.openxmlformats.org/officeDocument/2006/relationships/tags" Target="../tags/tag707.xml"/><Relationship Id="rId2" Type="http://schemas.openxmlformats.org/officeDocument/2006/relationships/tags" Target="../tags/tag676.xml"/><Relationship Id="rId16" Type="http://schemas.openxmlformats.org/officeDocument/2006/relationships/tags" Target="../tags/tag690.xml"/><Relationship Id="rId20" Type="http://schemas.openxmlformats.org/officeDocument/2006/relationships/tags" Target="../tags/tag694.xml"/><Relationship Id="rId29" Type="http://schemas.openxmlformats.org/officeDocument/2006/relationships/tags" Target="../tags/tag703.xml"/><Relationship Id="rId1" Type="http://schemas.openxmlformats.org/officeDocument/2006/relationships/vmlDrawing" Target="../drawings/vmlDrawing26.vml"/><Relationship Id="rId6" Type="http://schemas.openxmlformats.org/officeDocument/2006/relationships/tags" Target="../tags/tag680.xml"/><Relationship Id="rId11" Type="http://schemas.openxmlformats.org/officeDocument/2006/relationships/tags" Target="../tags/tag685.xml"/><Relationship Id="rId24" Type="http://schemas.openxmlformats.org/officeDocument/2006/relationships/tags" Target="../tags/tag698.xml"/><Relationship Id="rId32" Type="http://schemas.openxmlformats.org/officeDocument/2006/relationships/tags" Target="../tags/tag706.xml"/><Relationship Id="rId37" Type="http://schemas.openxmlformats.org/officeDocument/2006/relationships/chart" Target="../charts/chart17.xml"/><Relationship Id="rId5" Type="http://schemas.openxmlformats.org/officeDocument/2006/relationships/tags" Target="../tags/tag679.xml"/><Relationship Id="rId15" Type="http://schemas.openxmlformats.org/officeDocument/2006/relationships/tags" Target="../tags/tag689.xml"/><Relationship Id="rId23" Type="http://schemas.openxmlformats.org/officeDocument/2006/relationships/tags" Target="../tags/tag697.xml"/><Relationship Id="rId28" Type="http://schemas.openxmlformats.org/officeDocument/2006/relationships/tags" Target="../tags/tag702.xml"/><Relationship Id="rId36" Type="http://schemas.openxmlformats.org/officeDocument/2006/relationships/image" Target="../media/image6.emf"/><Relationship Id="rId10" Type="http://schemas.openxmlformats.org/officeDocument/2006/relationships/tags" Target="../tags/tag684.xml"/><Relationship Id="rId19" Type="http://schemas.openxmlformats.org/officeDocument/2006/relationships/tags" Target="../tags/tag693.xml"/><Relationship Id="rId31" Type="http://schemas.openxmlformats.org/officeDocument/2006/relationships/tags" Target="../tags/tag705.xml"/><Relationship Id="rId4" Type="http://schemas.openxmlformats.org/officeDocument/2006/relationships/tags" Target="../tags/tag678.xml"/><Relationship Id="rId9" Type="http://schemas.openxmlformats.org/officeDocument/2006/relationships/tags" Target="../tags/tag683.xml"/><Relationship Id="rId14" Type="http://schemas.openxmlformats.org/officeDocument/2006/relationships/tags" Target="../tags/tag688.xml"/><Relationship Id="rId22" Type="http://schemas.openxmlformats.org/officeDocument/2006/relationships/tags" Target="../tags/tag696.xml"/><Relationship Id="rId27" Type="http://schemas.openxmlformats.org/officeDocument/2006/relationships/tags" Target="../tags/tag701.xml"/><Relationship Id="rId30" Type="http://schemas.openxmlformats.org/officeDocument/2006/relationships/tags" Target="../tags/tag704.xml"/><Relationship Id="rId35" Type="http://schemas.openxmlformats.org/officeDocument/2006/relationships/oleObject" Target="../embeddings/oleObject26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714.xml"/><Relationship Id="rId13" Type="http://schemas.openxmlformats.org/officeDocument/2006/relationships/tags" Target="../tags/tag719.xml"/><Relationship Id="rId18" Type="http://schemas.openxmlformats.org/officeDocument/2006/relationships/tags" Target="../tags/tag724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709.xml"/><Relationship Id="rId21" Type="http://schemas.openxmlformats.org/officeDocument/2006/relationships/tags" Target="../tags/tag727.xml"/><Relationship Id="rId7" Type="http://schemas.openxmlformats.org/officeDocument/2006/relationships/tags" Target="../tags/tag713.xml"/><Relationship Id="rId12" Type="http://schemas.openxmlformats.org/officeDocument/2006/relationships/tags" Target="../tags/tag718.xml"/><Relationship Id="rId17" Type="http://schemas.openxmlformats.org/officeDocument/2006/relationships/tags" Target="../tags/tag723.xml"/><Relationship Id="rId25" Type="http://schemas.openxmlformats.org/officeDocument/2006/relationships/tags" Target="../tags/tag731.xml"/><Relationship Id="rId2" Type="http://schemas.openxmlformats.org/officeDocument/2006/relationships/tags" Target="../tags/tag708.xml"/><Relationship Id="rId16" Type="http://schemas.openxmlformats.org/officeDocument/2006/relationships/tags" Target="../tags/tag722.xml"/><Relationship Id="rId20" Type="http://schemas.openxmlformats.org/officeDocument/2006/relationships/tags" Target="../tags/tag726.xml"/><Relationship Id="rId29" Type="http://schemas.openxmlformats.org/officeDocument/2006/relationships/image" Target="../media/image4.emf"/><Relationship Id="rId1" Type="http://schemas.openxmlformats.org/officeDocument/2006/relationships/vmlDrawing" Target="../drawings/vmlDrawing27.vml"/><Relationship Id="rId6" Type="http://schemas.openxmlformats.org/officeDocument/2006/relationships/tags" Target="../tags/tag712.xml"/><Relationship Id="rId11" Type="http://schemas.openxmlformats.org/officeDocument/2006/relationships/tags" Target="../tags/tag717.xml"/><Relationship Id="rId24" Type="http://schemas.openxmlformats.org/officeDocument/2006/relationships/tags" Target="../tags/tag730.xml"/><Relationship Id="rId5" Type="http://schemas.openxmlformats.org/officeDocument/2006/relationships/tags" Target="../tags/tag711.xml"/><Relationship Id="rId15" Type="http://schemas.openxmlformats.org/officeDocument/2006/relationships/tags" Target="../tags/tag721.xml"/><Relationship Id="rId23" Type="http://schemas.openxmlformats.org/officeDocument/2006/relationships/tags" Target="../tags/tag729.xml"/><Relationship Id="rId28" Type="http://schemas.openxmlformats.org/officeDocument/2006/relationships/oleObject" Target="../embeddings/oleObject27.bin"/><Relationship Id="rId10" Type="http://schemas.openxmlformats.org/officeDocument/2006/relationships/tags" Target="../tags/tag716.xml"/><Relationship Id="rId19" Type="http://schemas.openxmlformats.org/officeDocument/2006/relationships/tags" Target="../tags/tag725.xml"/><Relationship Id="rId4" Type="http://schemas.openxmlformats.org/officeDocument/2006/relationships/tags" Target="../tags/tag710.xml"/><Relationship Id="rId9" Type="http://schemas.openxmlformats.org/officeDocument/2006/relationships/tags" Target="../tags/tag715.xml"/><Relationship Id="rId14" Type="http://schemas.openxmlformats.org/officeDocument/2006/relationships/tags" Target="../tags/tag720.xml"/><Relationship Id="rId22" Type="http://schemas.openxmlformats.org/officeDocument/2006/relationships/tags" Target="../tags/tag728.xml"/><Relationship Id="rId27" Type="http://schemas.openxmlformats.org/officeDocument/2006/relationships/notesSlide" Target="../notesSlides/notesSlide11.xml"/><Relationship Id="rId30" Type="http://schemas.openxmlformats.org/officeDocument/2006/relationships/chart" Target="../charts/char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733.xml"/><Relationship Id="rId2" Type="http://schemas.openxmlformats.org/officeDocument/2006/relationships/tags" Target="../tags/tag73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745.xml"/><Relationship Id="rId18" Type="http://schemas.openxmlformats.org/officeDocument/2006/relationships/tags" Target="../tags/tag750.xml"/><Relationship Id="rId26" Type="http://schemas.openxmlformats.org/officeDocument/2006/relationships/tags" Target="../tags/tag758.xml"/><Relationship Id="rId39" Type="http://schemas.openxmlformats.org/officeDocument/2006/relationships/tags" Target="../tags/tag771.xml"/><Relationship Id="rId21" Type="http://schemas.openxmlformats.org/officeDocument/2006/relationships/tags" Target="../tags/tag753.xml"/><Relationship Id="rId34" Type="http://schemas.openxmlformats.org/officeDocument/2006/relationships/tags" Target="../tags/tag766.xml"/><Relationship Id="rId42" Type="http://schemas.openxmlformats.org/officeDocument/2006/relationships/tags" Target="../tags/tag774.xml"/><Relationship Id="rId47" Type="http://schemas.openxmlformats.org/officeDocument/2006/relationships/tags" Target="../tags/tag779.xml"/><Relationship Id="rId50" Type="http://schemas.openxmlformats.org/officeDocument/2006/relationships/tags" Target="../tags/tag782.xml"/><Relationship Id="rId55" Type="http://schemas.openxmlformats.org/officeDocument/2006/relationships/tags" Target="../tags/tag787.xml"/><Relationship Id="rId63" Type="http://schemas.openxmlformats.org/officeDocument/2006/relationships/tags" Target="../tags/tag795.xml"/><Relationship Id="rId68" Type="http://schemas.openxmlformats.org/officeDocument/2006/relationships/tags" Target="../tags/tag800.xml"/><Relationship Id="rId76" Type="http://schemas.openxmlformats.org/officeDocument/2006/relationships/image" Target="../media/image6.emf"/><Relationship Id="rId7" Type="http://schemas.openxmlformats.org/officeDocument/2006/relationships/tags" Target="../tags/tag739.xml"/><Relationship Id="rId71" Type="http://schemas.openxmlformats.org/officeDocument/2006/relationships/tags" Target="../tags/tag803.xml"/><Relationship Id="rId2" Type="http://schemas.openxmlformats.org/officeDocument/2006/relationships/tags" Target="../tags/tag734.xml"/><Relationship Id="rId16" Type="http://schemas.openxmlformats.org/officeDocument/2006/relationships/tags" Target="../tags/tag748.xml"/><Relationship Id="rId29" Type="http://schemas.openxmlformats.org/officeDocument/2006/relationships/tags" Target="../tags/tag761.xml"/><Relationship Id="rId11" Type="http://schemas.openxmlformats.org/officeDocument/2006/relationships/tags" Target="../tags/tag743.xml"/><Relationship Id="rId24" Type="http://schemas.openxmlformats.org/officeDocument/2006/relationships/tags" Target="../tags/tag756.xml"/><Relationship Id="rId32" Type="http://schemas.openxmlformats.org/officeDocument/2006/relationships/tags" Target="../tags/tag764.xml"/><Relationship Id="rId37" Type="http://schemas.openxmlformats.org/officeDocument/2006/relationships/tags" Target="../tags/tag769.xml"/><Relationship Id="rId40" Type="http://schemas.openxmlformats.org/officeDocument/2006/relationships/tags" Target="../tags/tag772.xml"/><Relationship Id="rId45" Type="http://schemas.openxmlformats.org/officeDocument/2006/relationships/tags" Target="../tags/tag777.xml"/><Relationship Id="rId53" Type="http://schemas.openxmlformats.org/officeDocument/2006/relationships/tags" Target="../tags/tag785.xml"/><Relationship Id="rId58" Type="http://schemas.openxmlformats.org/officeDocument/2006/relationships/tags" Target="../tags/tag790.xml"/><Relationship Id="rId66" Type="http://schemas.openxmlformats.org/officeDocument/2006/relationships/tags" Target="../tags/tag798.xml"/><Relationship Id="rId74" Type="http://schemas.openxmlformats.org/officeDocument/2006/relationships/notesSlide" Target="../notesSlides/notesSlide12.xml"/><Relationship Id="rId5" Type="http://schemas.openxmlformats.org/officeDocument/2006/relationships/tags" Target="../tags/tag737.xml"/><Relationship Id="rId15" Type="http://schemas.openxmlformats.org/officeDocument/2006/relationships/tags" Target="../tags/tag747.xml"/><Relationship Id="rId23" Type="http://schemas.openxmlformats.org/officeDocument/2006/relationships/tags" Target="../tags/tag755.xml"/><Relationship Id="rId28" Type="http://schemas.openxmlformats.org/officeDocument/2006/relationships/tags" Target="../tags/tag760.xml"/><Relationship Id="rId36" Type="http://schemas.openxmlformats.org/officeDocument/2006/relationships/tags" Target="../tags/tag768.xml"/><Relationship Id="rId49" Type="http://schemas.openxmlformats.org/officeDocument/2006/relationships/tags" Target="../tags/tag781.xml"/><Relationship Id="rId57" Type="http://schemas.openxmlformats.org/officeDocument/2006/relationships/tags" Target="../tags/tag789.xml"/><Relationship Id="rId61" Type="http://schemas.openxmlformats.org/officeDocument/2006/relationships/tags" Target="../tags/tag793.xml"/><Relationship Id="rId10" Type="http://schemas.openxmlformats.org/officeDocument/2006/relationships/tags" Target="../tags/tag742.xml"/><Relationship Id="rId19" Type="http://schemas.openxmlformats.org/officeDocument/2006/relationships/tags" Target="../tags/tag751.xml"/><Relationship Id="rId31" Type="http://schemas.openxmlformats.org/officeDocument/2006/relationships/tags" Target="../tags/tag763.xml"/><Relationship Id="rId44" Type="http://schemas.openxmlformats.org/officeDocument/2006/relationships/tags" Target="../tags/tag776.xml"/><Relationship Id="rId52" Type="http://schemas.openxmlformats.org/officeDocument/2006/relationships/tags" Target="../tags/tag784.xml"/><Relationship Id="rId60" Type="http://schemas.openxmlformats.org/officeDocument/2006/relationships/tags" Target="../tags/tag792.xml"/><Relationship Id="rId65" Type="http://schemas.openxmlformats.org/officeDocument/2006/relationships/tags" Target="../tags/tag797.xml"/><Relationship Id="rId73" Type="http://schemas.openxmlformats.org/officeDocument/2006/relationships/slideLayout" Target="../slideLayouts/slideLayout2.xml"/><Relationship Id="rId4" Type="http://schemas.openxmlformats.org/officeDocument/2006/relationships/tags" Target="../tags/tag736.xml"/><Relationship Id="rId9" Type="http://schemas.openxmlformats.org/officeDocument/2006/relationships/tags" Target="../tags/tag741.xml"/><Relationship Id="rId14" Type="http://schemas.openxmlformats.org/officeDocument/2006/relationships/tags" Target="../tags/tag746.xml"/><Relationship Id="rId22" Type="http://schemas.openxmlformats.org/officeDocument/2006/relationships/tags" Target="../tags/tag754.xml"/><Relationship Id="rId27" Type="http://schemas.openxmlformats.org/officeDocument/2006/relationships/tags" Target="../tags/tag759.xml"/><Relationship Id="rId30" Type="http://schemas.openxmlformats.org/officeDocument/2006/relationships/tags" Target="../tags/tag762.xml"/><Relationship Id="rId35" Type="http://schemas.openxmlformats.org/officeDocument/2006/relationships/tags" Target="../tags/tag767.xml"/><Relationship Id="rId43" Type="http://schemas.openxmlformats.org/officeDocument/2006/relationships/tags" Target="../tags/tag775.xml"/><Relationship Id="rId48" Type="http://schemas.openxmlformats.org/officeDocument/2006/relationships/tags" Target="../tags/tag780.xml"/><Relationship Id="rId56" Type="http://schemas.openxmlformats.org/officeDocument/2006/relationships/tags" Target="../tags/tag788.xml"/><Relationship Id="rId64" Type="http://schemas.openxmlformats.org/officeDocument/2006/relationships/tags" Target="../tags/tag796.xml"/><Relationship Id="rId69" Type="http://schemas.openxmlformats.org/officeDocument/2006/relationships/tags" Target="../tags/tag801.xml"/><Relationship Id="rId77" Type="http://schemas.openxmlformats.org/officeDocument/2006/relationships/chart" Target="../charts/chart19.xml"/><Relationship Id="rId8" Type="http://schemas.openxmlformats.org/officeDocument/2006/relationships/tags" Target="../tags/tag740.xml"/><Relationship Id="rId51" Type="http://schemas.openxmlformats.org/officeDocument/2006/relationships/tags" Target="../tags/tag783.xml"/><Relationship Id="rId72" Type="http://schemas.openxmlformats.org/officeDocument/2006/relationships/tags" Target="../tags/tag804.xml"/><Relationship Id="rId3" Type="http://schemas.openxmlformats.org/officeDocument/2006/relationships/tags" Target="../tags/tag735.xml"/><Relationship Id="rId12" Type="http://schemas.openxmlformats.org/officeDocument/2006/relationships/tags" Target="../tags/tag744.xml"/><Relationship Id="rId17" Type="http://schemas.openxmlformats.org/officeDocument/2006/relationships/tags" Target="../tags/tag749.xml"/><Relationship Id="rId25" Type="http://schemas.openxmlformats.org/officeDocument/2006/relationships/tags" Target="../tags/tag757.xml"/><Relationship Id="rId33" Type="http://schemas.openxmlformats.org/officeDocument/2006/relationships/tags" Target="../tags/tag765.xml"/><Relationship Id="rId38" Type="http://schemas.openxmlformats.org/officeDocument/2006/relationships/tags" Target="../tags/tag770.xml"/><Relationship Id="rId46" Type="http://schemas.openxmlformats.org/officeDocument/2006/relationships/tags" Target="../tags/tag778.xml"/><Relationship Id="rId59" Type="http://schemas.openxmlformats.org/officeDocument/2006/relationships/tags" Target="../tags/tag791.xml"/><Relationship Id="rId67" Type="http://schemas.openxmlformats.org/officeDocument/2006/relationships/tags" Target="../tags/tag799.xml"/><Relationship Id="rId20" Type="http://schemas.openxmlformats.org/officeDocument/2006/relationships/tags" Target="../tags/tag752.xml"/><Relationship Id="rId41" Type="http://schemas.openxmlformats.org/officeDocument/2006/relationships/tags" Target="../tags/tag773.xml"/><Relationship Id="rId54" Type="http://schemas.openxmlformats.org/officeDocument/2006/relationships/tags" Target="../tags/tag786.xml"/><Relationship Id="rId62" Type="http://schemas.openxmlformats.org/officeDocument/2006/relationships/tags" Target="../tags/tag794.xml"/><Relationship Id="rId70" Type="http://schemas.openxmlformats.org/officeDocument/2006/relationships/tags" Target="../tags/tag802.xml"/><Relationship Id="rId75" Type="http://schemas.openxmlformats.org/officeDocument/2006/relationships/oleObject" Target="../embeddings/oleObject29.bin"/><Relationship Id="rId1" Type="http://schemas.openxmlformats.org/officeDocument/2006/relationships/vmlDrawing" Target="../drawings/vmlDrawing29.vml"/><Relationship Id="rId6" Type="http://schemas.openxmlformats.org/officeDocument/2006/relationships/tags" Target="../tags/tag738.xm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tags" Target="../tags/tag816.xml"/><Relationship Id="rId18" Type="http://schemas.openxmlformats.org/officeDocument/2006/relationships/tags" Target="../tags/tag821.xml"/><Relationship Id="rId26" Type="http://schemas.openxmlformats.org/officeDocument/2006/relationships/tags" Target="../tags/tag829.xml"/><Relationship Id="rId39" Type="http://schemas.openxmlformats.org/officeDocument/2006/relationships/tags" Target="../tags/tag842.xml"/><Relationship Id="rId3" Type="http://schemas.openxmlformats.org/officeDocument/2006/relationships/tags" Target="../tags/tag806.xml"/><Relationship Id="rId21" Type="http://schemas.openxmlformats.org/officeDocument/2006/relationships/tags" Target="../tags/tag824.xml"/><Relationship Id="rId34" Type="http://schemas.openxmlformats.org/officeDocument/2006/relationships/tags" Target="../tags/tag837.xml"/><Relationship Id="rId42" Type="http://schemas.openxmlformats.org/officeDocument/2006/relationships/tags" Target="../tags/tag845.xml"/><Relationship Id="rId47" Type="http://schemas.openxmlformats.org/officeDocument/2006/relationships/notesSlide" Target="../notesSlides/notesSlide13.xml"/><Relationship Id="rId50" Type="http://schemas.openxmlformats.org/officeDocument/2006/relationships/chart" Target="../charts/chart20.xml"/><Relationship Id="rId7" Type="http://schemas.openxmlformats.org/officeDocument/2006/relationships/tags" Target="../tags/tag810.xml"/><Relationship Id="rId12" Type="http://schemas.openxmlformats.org/officeDocument/2006/relationships/tags" Target="../tags/tag815.xml"/><Relationship Id="rId17" Type="http://schemas.openxmlformats.org/officeDocument/2006/relationships/tags" Target="../tags/tag820.xml"/><Relationship Id="rId25" Type="http://schemas.openxmlformats.org/officeDocument/2006/relationships/tags" Target="../tags/tag828.xml"/><Relationship Id="rId33" Type="http://schemas.openxmlformats.org/officeDocument/2006/relationships/tags" Target="../tags/tag836.xml"/><Relationship Id="rId38" Type="http://schemas.openxmlformats.org/officeDocument/2006/relationships/tags" Target="../tags/tag841.xml"/><Relationship Id="rId46" Type="http://schemas.openxmlformats.org/officeDocument/2006/relationships/slideLayout" Target="../slideLayouts/slideLayout2.xml"/><Relationship Id="rId2" Type="http://schemas.openxmlformats.org/officeDocument/2006/relationships/tags" Target="../tags/tag805.xml"/><Relationship Id="rId16" Type="http://schemas.openxmlformats.org/officeDocument/2006/relationships/tags" Target="../tags/tag819.xml"/><Relationship Id="rId20" Type="http://schemas.openxmlformats.org/officeDocument/2006/relationships/tags" Target="../tags/tag823.xml"/><Relationship Id="rId29" Type="http://schemas.openxmlformats.org/officeDocument/2006/relationships/tags" Target="../tags/tag832.xml"/><Relationship Id="rId41" Type="http://schemas.openxmlformats.org/officeDocument/2006/relationships/tags" Target="../tags/tag844.xml"/><Relationship Id="rId1" Type="http://schemas.openxmlformats.org/officeDocument/2006/relationships/vmlDrawing" Target="../drawings/vmlDrawing30.vml"/><Relationship Id="rId6" Type="http://schemas.openxmlformats.org/officeDocument/2006/relationships/tags" Target="../tags/tag809.xml"/><Relationship Id="rId11" Type="http://schemas.openxmlformats.org/officeDocument/2006/relationships/tags" Target="../tags/tag814.xml"/><Relationship Id="rId24" Type="http://schemas.openxmlformats.org/officeDocument/2006/relationships/tags" Target="../tags/tag827.xml"/><Relationship Id="rId32" Type="http://schemas.openxmlformats.org/officeDocument/2006/relationships/tags" Target="../tags/tag835.xml"/><Relationship Id="rId37" Type="http://schemas.openxmlformats.org/officeDocument/2006/relationships/tags" Target="../tags/tag840.xml"/><Relationship Id="rId40" Type="http://schemas.openxmlformats.org/officeDocument/2006/relationships/tags" Target="../tags/tag843.xml"/><Relationship Id="rId45" Type="http://schemas.openxmlformats.org/officeDocument/2006/relationships/tags" Target="../tags/tag848.xml"/><Relationship Id="rId5" Type="http://schemas.openxmlformats.org/officeDocument/2006/relationships/tags" Target="../tags/tag808.xml"/><Relationship Id="rId15" Type="http://schemas.openxmlformats.org/officeDocument/2006/relationships/tags" Target="../tags/tag818.xml"/><Relationship Id="rId23" Type="http://schemas.openxmlformats.org/officeDocument/2006/relationships/tags" Target="../tags/tag826.xml"/><Relationship Id="rId28" Type="http://schemas.openxmlformats.org/officeDocument/2006/relationships/tags" Target="../tags/tag831.xml"/><Relationship Id="rId36" Type="http://schemas.openxmlformats.org/officeDocument/2006/relationships/tags" Target="../tags/tag839.xml"/><Relationship Id="rId49" Type="http://schemas.openxmlformats.org/officeDocument/2006/relationships/image" Target="../media/image6.emf"/><Relationship Id="rId10" Type="http://schemas.openxmlformats.org/officeDocument/2006/relationships/tags" Target="../tags/tag813.xml"/><Relationship Id="rId19" Type="http://schemas.openxmlformats.org/officeDocument/2006/relationships/tags" Target="../tags/tag822.xml"/><Relationship Id="rId31" Type="http://schemas.openxmlformats.org/officeDocument/2006/relationships/tags" Target="../tags/tag834.xml"/><Relationship Id="rId44" Type="http://schemas.openxmlformats.org/officeDocument/2006/relationships/tags" Target="../tags/tag847.xml"/><Relationship Id="rId4" Type="http://schemas.openxmlformats.org/officeDocument/2006/relationships/tags" Target="../tags/tag807.xml"/><Relationship Id="rId9" Type="http://schemas.openxmlformats.org/officeDocument/2006/relationships/tags" Target="../tags/tag812.xml"/><Relationship Id="rId14" Type="http://schemas.openxmlformats.org/officeDocument/2006/relationships/tags" Target="../tags/tag817.xml"/><Relationship Id="rId22" Type="http://schemas.openxmlformats.org/officeDocument/2006/relationships/tags" Target="../tags/tag825.xml"/><Relationship Id="rId27" Type="http://schemas.openxmlformats.org/officeDocument/2006/relationships/tags" Target="../tags/tag830.xml"/><Relationship Id="rId30" Type="http://schemas.openxmlformats.org/officeDocument/2006/relationships/tags" Target="../tags/tag833.xml"/><Relationship Id="rId35" Type="http://schemas.openxmlformats.org/officeDocument/2006/relationships/tags" Target="../tags/tag838.xml"/><Relationship Id="rId43" Type="http://schemas.openxmlformats.org/officeDocument/2006/relationships/tags" Target="../tags/tag846.xml"/><Relationship Id="rId48" Type="http://schemas.openxmlformats.org/officeDocument/2006/relationships/oleObject" Target="../embeddings/oleObject30.bin"/><Relationship Id="rId8" Type="http://schemas.openxmlformats.org/officeDocument/2006/relationships/tags" Target="../tags/tag811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855.xml"/><Relationship Id="rId13" Type="http://schemas.openxmlformats.org/officeDocument/2006/relationships/tags" Target="../tags/tag860.xml"/><Relationship Id="rId18" Type="http://schemas.openxmlformats.org/officeDocument/2006/relationships/tags" Target="../tags/tag865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850.xml"/><Relationship Id="rId21" Type="http://schemas.openxmlformats.org/officeDocument/2006/relationships/tags" Target="../tags/tag868.xml"/><Relationship Id="rId7" Type="http://schemas.openxmlformats.org/officeDocument/2006/relationships/tags" Target="../tags/tag854.xml"/><Relationship Id="rId12" Type="http://schemas.openxmlformats.org/officeDocument/2006/relationships/tags" Target="../tags/tag859.xml"/><Relationship Id="rId17" Type="http://schemas.openxmlformats.org/officeDocument/2006/relationships/tags" Target="../tags/tag864.xml"/><Relationship Id="rId25" Type="http://schemas.openxmlformats.org/officeDocument/2006/relationships/tags" Target="../tags/tag872.xml"/><Relationship Id="rId2" Type="http://schemas.openxmlformats.org/officeDocument/2006/relationships/tags" Target="../tags/tag849.xml"/><Relationship Id="rId16" Type="http://schemas.openxmlformats.org/officeDocument/2006/relationships/tags" Target="../tags/tag863.xml"/><Relationship Id="rId20" Type="http://schemas.openxmlformats.org/officeDocument/2006/relationships/tags" Target="../tags/tag867.xml"/><Relationship Id="rId29" Type="http://schemas.openxmlformats.org/officeDocument/2006/relationships/image" Target="../media/image6.emf"/><Relationship Id="rId1" Type="http://schemas.openxmlformats.org/officeDocument/2006/relationships/vmlDrawing" Target="../drawings/vmlDrawing31.vml"/><Relationship Id="rId6" Type="http://schemas.openxmlformats.org/officeDocument/2006/relationships/tags" Target="../tags/tag853.xml"/><Relationship Id="rId11" Type="http://schemas.openxmlformats.org/officeDocument/2006/relationships/tags" Target="../tags/tag858.xml"/><Relationship Id="rId24" Type="http://schemas.openxmlformats.org/officeDocument/2006/relationships/tags" Target="../tags/tag871.xml"/><Relationship Id="rId5" Type="http://schemas.openxmlformats.org/officeDocument/2006/relationships/tags" Target="../tags/tag852.xml"/><Relationship Id="rId15" Type="http://schemas.openxmlformats.org/officeDocument/2006/relationships/tags" Target="../tags/tag862.xml"/><Relationship Id="rId23" Type="http://schemas.openxmlformats.org/officeDocument/2006/relationships/tags" Target="../tags/tag870.xml"/><Relationship Id="rId28" Type="http://schemas.openxmlformats.org/officeDocument/2006/relationships/oleObject" Target="../embeddings/oleObject31.bin"/><Relationship Id="rId10" Type="http://schemas.openxmlformats.org/officeDocument/2006/relationships/tags" Target="../tags/tag857.xml"/><Relationship Id="rId19" Type="http://schemas.openxmlformats.org/officeDocument/2006/relationships/tags" Target="../tags/tag866.xml"/><Relationship Id="rId4" Type="http://schemas.openxmlformats.org/officeDocument/2006/relationships/tags" Target="../tags/tag851.xml"/><Relationship Id="rId9" Type="http://schemas.openxmlformats.org/officeDocument/2006/relationships/tags" Target="../tags/tag856.xml"/><Relationship Id="rId14" Type="http://schemas.openxmlformats.org/officeDocument/2006/relationships/tags" Target="../tags/tag861.xml"/><Relationship Id="rId22" Type="http://schemas.openxmlformats.org/officeDocument/2006/relationships/tags" Target="../tags/tag869.xml"/><Relationship Id="rId27" Type="http://schemas.openxmlformats.org/officeDocument/2006/relationships/notesSlide" Target="../notesSlides/notesSlide14.xml"/><Relationship Id="rId30" Type="http://schemas.openxmlformats.org/officeDocument/2006/relationships/chart" Target="../charts/char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chart" Target="../charts/char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26" Type="http://schemas.openxmlformats.org/officeDocument/2006/relationships/tags" Target="../tags/tag43.xml"/><Relationship Id="rId39" Type="http://schemas.openxmlformats.org/officeDocument/2006/relationships/tags" Target="../tags/tag56.xml"/><Relationship Id="rId21" Type="http://schemas.openxmlformats.org/officeDocument/2006/relationships/tags" Target="../tags/tag38.xml"/><Relationship Id="rId34" Type="http://schemas.openxmlformats.org/officeDocument/2006/relationships/tags" Target="../tags/tag51.xml"/><Relationship Id="rId42" Type="http://schemas.openxmlformats.org/officeDocument/2006/relationships/tags" Target="../tags/tag59.xml"/><Relationship Id="rId47" Type="http://schemas.openxmlformats.org/officeDocument/2006/relationships/tags" Target="../tags/tag64.xml"/><Relationship Id="rId50" Type="http://schemas.openxmlformats.org/officeDocument/2006/relationships/tags" Target="../tags/tag67.xml"/><Relationship Id="rId55" Type="http://schemas.openxmlformats.org/officeDocument/2006/relationships/tags" Target="../tags/tag72.xml"/><Relationship Id="rId63" Type="http://schemas.openxmlformats.org/officeDocument/2006/relationships/tags" Target="../tags/tag80.xml"/><Relationship Id="rId68" Type="http://schemas.openxmlformats.org/officeDocument/2006/relationships/tags" Target="../tags/tag85.xml"/><Relationship Id="rId76" Type="http://schemas.openxmlformats.org/officeDocument/2006/relationships/slideLayout" Target="../slideLayouts/slideLayout4.xml"/><Relationship Id="rId7" Type="http://schemas.openxmlformats.org/officeDocument/2006/relationships/tags" Target="../tags/tag24.xml"/><Relationship Id="rId71" Type="http://schemas.openxmlformats.org/officeDocument/2006/relationships/tags" Target="../tags/tag88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9" Type="http://schemas.openxmlformats.org/officeDocument/2006/relationships/tags" Target="../tags/tag46.xml"/><Relationship Id="rId11" Type="http://schemas.openxmlformats.org/officeDocument/2006/relationships/tags" Target="../tags/tag28.xml"/><Relationship Id="rId24" Type="http://schemas.openxmlformats.org/officeDocument/2006/relationships/tags" Target="../tags/tag41.xml"/><Relationship Id="rId32" Type="http://schemas.openxmlformats.org/officeDocument/2006/relationships/tags" Target="../tags/tag49.xml"/><Relationship Id="rId37" Type="http://schemas.openxmlformats.org/officeDocument/2006/relationships/tags" Target="../tags/tag54.xml"/><Relationship Id="rId40" Type="http://schemas.openxmlformats.org/officeDocument/2006/relationships/tags" Target="../tags/tag57.xml"/><Relationship Id="rId45" Type="http://schemas.openxmlformats.org/officeDocument/2006/relationships/tags" Target="../tags/tag62.xml"/><Relationship Id="rId53" Type="http://schemas.openxmlformats.org/officeDocument/2006/relationships/tags" Target="../tags/tag70.xml"/><Relationship Id="rId58" Type="http://schemas.openxmlformats.org/officeDocument/2006/relationships/tags" Target="../tags/tag75.xml"/><Relationship Id="rId66" Type="http://schemas.openxmlformats.org/officeDocument/2006/relationships/tags" Target="../tags/tag83.xml"/><Relationship Id="rId74" Type="http://schemas.openxmlformats.org/officeDocument/2006/relationships/tags" Target="../tags/tag91.xml"/><Relationship Id="rId79" Type="http://schemas.openxmlformats.org/officeDocument/2006/relationships/image" Target="../media/image8.emf"/><Relationship Id="rId5" Type="http://schemas.openxmlformats.org/officeDocument/2006/relationships/tags" Target="../tags/tag22.xml"/><Relationship Id="rId61" Type="http://schemas.openxmlformats.org/officeDocument/2006/relationships/tags" Target="../tags/tag78.xml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31" Type="http://schemas.openxmlformats.org/officeDocument/2006/relationships/tags" Target="../tags/tag48.xml"/><Relationship Id="rId44" Type="http://schemas.openxmlformats.org/officeDocument/2006/relationships/tags" Target="../tags/tag61.xml"/><Relationship Id="rId52" Type="http://schemas.openxmlformats.org/officeDocument/2006/relationships/tags" Target="../tags/tag69.xml"/><Relationship Id="rId60" Type="http://schemas.openxmlformats.org/officeDocument/2006/relationships/tags" Target="../tags/tag77.xml"/><Relationship Id="rId65" Type="http://schemas.openxmlformats.org/officeDocument/2006/relationships/tags" Target="../tags/tag82.xml"/><Relationship Id="rId73" Type="http://schemas.openxmlformats.org/officeDocument/2006/relationships/tags" Target="../tags/tag90.xml"/><Relationship Id="rId78" Type="http://schemas.openxmlformats.org/officeDocument/2006/relationships/oleObject" Target="../embeddings/oleObject10.bin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Relationship Id="rId27" Type="http://schemas.openxmlformats.org/officeDocument/2006/relationships/tags" Target="../tags/tag44.xml"/><Relationship Id="rId30" Type="http://schemas.openxmlformats.org/officeDocument/2006/relationships/tags" Target="../tags/tag47.xml"/><Relationship Id="rId35" Type="http://schemas.openxmlformats.org/officeDocument/2006/relationships/tags" Target="../tags/tag52.xml"/><Relationship Id="rId43" Type="http://schemas.openxmlformats.org/officeDocument/2006/relationships/tags" Target="../tags/tag60.xml"/><Relationship Id="rId48" Type="http://schemas.openxmlformats.org/officeDocument/2006/relationships/tags" Target="../tags/tag65.xml"/><Relationship Id="rId56" Type="http://schemas.openxmlformats.org/officeDocument/2006/relationships/tags" Target="../tags/tag73.xml"/><Relationship Id="rId64" Type="http://schemas.openxmlformats.org/officeDocument/2006/relationships/tags" Target="../tags/tag81.xml"/><Relationship Id="rId69" Type="http://schemas.openxmlformats.org/officeDocument/2006/relationships/tags" Target="../tags/tag86.xml"/><Relationship Id="rId77" Type="http://schemas.openxmlformats.org/officeDocument/2006/relationships/notesSlide" Target="../notesSlides/notesSlide3.xml"/><Relationship Id="rId8" Type="http://schemas.openxmlformats.org/officeDocument/2006/relationships/tags" Target="../tags/tag25.xml"/><Relationship Id="rId51" Type="http://schemas.openxmlformats.org/officeDocument/2006/relationships/tags" Target="../tags/tag68.xml"/><Relationship Id="rId72" Type="http://schemas.openxmlformats.org/officeDocument/2006/relationships/tags" Target="../tags/tag89.xml"/><Relationship Id="rId80" Type="http://schemas.openxmlformats.org/officeDocument/2006/relationships/chart" Target="../charts/chart3.xml"/><Relationship Id="rId3" Type="http://schemas.openxmlformats.org/officeDocument/2006/relationships/tags" Target="../tags/tag20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tags" Target="../tags/tag42.xml"/><Relationship Id="rId33" Type="http://schemas.openxmlformats.org/officeDocument/2006/relationships/tags" Target="../tags/tag50.xml"/><Relationship Id="rId38" Type="http://schemas.openxmlformats.org/officeDocument/2006/relationships/tags" Target="../tags/tag55.xml"/><Relationship Id="rId46" Type="http://schemas.openxmlformats.org/officeDocument/2006/relationships/tags" Target="../tags/tag63.xml"/><Relationship Id="rId59" Type="http://schemas.openxmlformats.org/officeDocument/2006/relationships/tags" Target="../tags/tag76.xml"/><Relationship Id="rId67" Type="http://schemas.openxmlformats.org/officeDocument/2006/relationships/tags" Target="../tags/tag84.xml"/><Relationship Id="rId20" Type="http://schemas.openxmlformats.org/officeDocument/2006/relationships/tags" Target="../tags/tag37.xml"/><Relationship Id="rId41" Type="http://schemas.openxmlformats.org/officeDocument/2006/relationships/tags" Target="../tags/tag58.xml"/><Relationship Id="rId54" Type="http://schemas.openxmlformats.org/officeDocument/2006/relationships/tags" Target="../tags/tag71.xml"/><Relationship Id="rId62" Type="http://schemas.openxmlformats.org/officeDocument/2006/relationships/tags" Target="../tags/tag79.xml"/><Relationship Id="rId70" Type="http://schemas.openxmlformats.org/officeDocument/2006/relationships/tags" Target="../tags/tag87.xml"/><Relationship Id="rId75" Type="http://schemas.openxmlformats.org/officeDocument/2006/relationships/tags" Target="../tags/tag92.xml"/><Relationship Id="rId1" Type="http://schemas.openxmlformats.org/officeDocument/2006/relationships/vmlDrawing" Target="../drawings/vmlDrawing10.vml"/><Relationship Id="rId6" Type="http://schemas.openxmlformats.org/officeDocument/2006/relationships/tags" Target="../tags/tag23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28" Type="http://schemas.openxmlformats.org/officeDocument/2006/relationships/tags" Target="../tags/tag45.xml"/><Relationship Id="rId36" Type="http://schemas.openxmlformats.org/officeDocument/2006/relationships/tags" Target="../tags/tag53.xml"/><Relationship Id="rId49" Type="http://schemas.openxmlformats.org/officeDocument/2006/relationships/tags" Target="../tags/tag66.xml"/><Relationship Id="rId57" Type="http://schemas.openxmlformats.org/officeDocument/2006/relationships/tags" Target="../tags/tag7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6.emf"/><Relationship Id="rId2" Type="http://schemas.openxmlformats.org/officeDocument/2006/relationships/tags" Target="../tags/tag95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08.xml"/><Relationship Id="rId18" Type="http://schemas.openxmlformats.org/officeDocument/2006/relationships/tags" Target="../tags/tag113.xml"/><Relationship Id="rId26" Type="http://schemas.openxmlformats.org/officeDocument/2006/relationships/tags" Target="../tags/tag121.xml"/><Relationship Id="rId39" Type="http://schemas.openxmlformats.org/officeDocument/2006/relationships/tags" Target="../tags/tag134.xml"/><Relationship Id="rId21" Type="http://schemas.openxmlformats.org/officeDocument/2006/relationships/tags" Target="../tags/tag116.xml"/><Relationship Id="rId34" Type="http://schemas.openxmlformats.org/officeDocument/2006/relationships/tags" Target="../tags/tag129.xml"/><Relationship Id="rId42" Type="http://schemas.openxmlformats.org/officeDocument/2006/relationships/tags" Target="../tags/tag137.xml"/><Relationship Id="rId47" Type="http://schemas.openxmlformats.org/officeDocument/2006/relationships/tags" Target="../tags/tag142.xml"/><Relationship Id="rId50" Type="http://schemas.openxmlformats.org/officeDocument/2006/relationships/tags" Target="../tags/tag145.xml"/><Relationship Id="rId55" Type="http://schemas.openxmlformats.org/officeDocument/2006/relationships/tags" Target="../tags/tag150.xml"/><Relationship Id="rId63" Type="http://schemas.openxmlformats.org/officeDocument/2006/relationships/tags" Target="../tags/tag158.xml"/><Relationship Id="rId68" Type="http://schemas.openxmlformats.org/officeDocument/2006/relationships/tags" Target="../tags/tag163.xml"/><Relationship Id="rId7" Type="http://schemas.openxmlformats.org/officeDocument/2006/relationships/tags" Target="../tags/tag102.xml"/><Relationship Id="rId71" Type="http://schemas.openxmlformats.org/officeDocument/2006/relationships/tags" Target="../tags/tag166.xml"/><Relationship Id="rId2" Type="http://schemas.openxmlformats.org/officeDocument/2006/relationships/tags" Target="../tags/tag97.xml"/><Relationship Id="rId16" Type="http://schemas.openxmlformats.org/officeDocument/2006/relationships/tags" Target="../tags/tag111.xml"/><Relationship Id="rId29" Type="http://schemas.openxmlformats.org/officeDocument/2006/relationships/tags" Target="../tags/tag124.xml"/><Relationship Id="rId11" Type="http://schemas.openxmlformats.org/officeDocument/2006/relationships/tags" Target="../tags/tag106.xml"/><Relationship Id="rId24" Type="http://schemas.openxmlformats.org/officeDocument/2006/relationships/tags" Target="../tags/tag119.xml"/><Relationship Id="rId32" Type="http://schemas.openxmlformats.org/officeDocument/2006/relationships/tags" Target="../tags/tag127.xml"/><Relationship Id="rId37" Type="http://schemas.openxmlformats.org/officeDocument/2006/relationships/tags" Target="../tags/tag132.xml"/><Relationship Id="rId40" Type="http://schemas.openxmlformats.org/officeDocument/2006/relationships/tags" Target="../tags/tag135.xml"/><Relationship Id="rId45" Type="http://schemas.openxmlformats.org/officeDocument/2006/relationships/tags" Target="../tags/tag140.xml"/><Relationship Id="rId53" Type="http://schemas.openxmlformats.org/officeDocument/2006/relationships/tags" Target="../tags/tag148.xml"/><Relationship Id="rId58" Type="http://schemas.openxmlformats.org/officeDocument/2006/relationships/tags" Target="../tags/tag153.xml"/><Relationship Id="rId66" Type="http://schemas.openxmlformats.org/officeDocument/2006/relationships/tags" Target="../tags/tag161.xml"/><Relationship Id="rId74" Type="http://schemas.openxmlformats.org/officeDocument/2006/relationships/image" Target="../media/image6.emf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23" Type="http://schemas.openxmlformats.org/officeDocument/2006/relationships/tags" Target="../tags/tag118.xml"/><Relationship Id="rId28" Type="http://schemas.openxmlformats.org/officeDocument/2006/relationships/tags" Target="../tags/tag123.xml"/><Relationship Id="rId36" Type="http://schemas.openxmlformats.org/officeDocument/2006/relationships/tags" Target="../tags/tag131.xml"/><Relationship Id="rId49" Type="http://schemas.openxmlformats.org/officeDocument/2006/relationships/tags" Target="../tags/tag144.xml"/><Relationship Id="rId57" Type="http://schemas.openxmlformats.org/officeDocument/2006/relationships/tags" Target="../tags/tag152.xml"/><Relationship Id="rId61" Type="http://schemas.openxmlformats.org/officeDocument/2006/relationships/tags" Target="../tags/tag156.xml"/><Relationship Id="rId10" Type="http://schemas.openxmlformats.org/officeDocument/2006/relationships/tags" Target="../tags/tag105.xml"/><Relationship Id="rId19" Type="http://schemas.openxmlformats.org/officeDocument/2006/relationships/tags" Target="../tags/tag114.xml"/><Relationship Id="rId31" Type="http://schemas.openxmlformats.org/officeDocument/2006/relationships/tags" Target="../tags/tag126.xml"/><Relationship Id="rId44" Type="http://schemas.openxmlformats.org/officeDocument/2006/relationships/tags" Target="../tags/tag139.xml"/><Relationship Id="rId52" Type="http://schemas.openxmlformats.org/officeDocument/2006/relationships/tags" Target="../tags/tag147.xml"/><Relationship Id="rId60" Type="http://schemas.openxmlformats.org/officeDocument/2006/relationships/tags" Target="../tags/tag155.xml"/><Relationship Id="rId65" Type="http://schemas.openxmlformats.org/officeDocument/2006/relationships/tags" Target="../tags/tag160.xml"/><Relationship Id="rId73" Type="http://schemas.openxmlformats.org/officeDocument/2006/relationships/oleObject" Target="../embeddings/oleObject13.bin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Relationship Id="rId22" Type="http://schemas.openxmlformats.org/officeDocument/2006/relationships/tags" Target="../tags/tag117.xml"/><Relationship Id="rId27" Type="http://schemas.openxmlformats.org/officeDocument/2006/relationships/tags" Target="../tags/tag122.xml"/><Relationship Id="rId30" Type="http://schemas.openxmlformats.org/officeDocument/2006/relationships/tags" Target="../tags/tag125.xml"/><Relationship Id="rId35" Type="http://schemas.openxmlformats.org/officeDocument/2006/relationships/tags" Target="../tags/tag130.xml"/><Relationship Id="rId43" Type="http://schemas.openxmlformats.org/officeDocument/2006/relationships/tags" Target="../tags/tag138.xml"/><Relationship Id="rId48" Type="http://schemas.openxmlformats.org/officeDocument/2006/relationships/tags" Target="../tags/tag143.xml"/><Relationship Id="rId56" Type="http://schemas.openxmlformats.org/officeDocument/2006/relationships/tags" Target="../tags/tag151.xml"/><Relationship Id="rId64" Type="http://schemas.openxmlformats.org/officeDocument/2006/relationships/tags" Target="../tags/tag159.xml"/><Relationship Id="rId69" Type="http://schemas.openxmlformats.org/officeDocument/2006/relationships/tags" Target="../tags/tag164.xml"/><Relationship Id="rId8" Type="http://schemas.openxmlformats.org/officeDocument/2006/relationships/tags" Target="../tags/tag103.xml"/><Relationship Id="rId51" Type="http://schemas.openxmlformats.org/officeDocument/2006/relationships/tags" Target="../tags/tag146.xml"/><Relationship Id="rId72" Type="http://schemas.openxmlformats.org/officeDocument/2006/relationships/slideLayout" Target="../slideLayouts/slideLayout2.xml"/><Relationship Id="rId3" Type="http://schemas.openxmlformats.org/officeDocument/2006/relationships/tags" Target="../tags/tag98.xml"/><Relationship Id="rId12" Type="http://schemas.openxmlformats.org/officeDocument/2006/relationships/tags" Target="../tags/tag107.xml"/><Relationship Id="rId17" Type="http://schemas.openxmlformats.org/officeDocument/2006/relationships/tags" Target="../tags/tag112.xml"/><Relationship Id="rId25" Type="http://schemas.openxmlformats.org/officeDocument/2006/relationships/tags" Target="../tags/tag120.xml"/><Relationship Id="rId33" Type="http://schemas.openxmlformats.org/officeDocument/2006/relationships/tags" Target="../tags/tag128.xml"/><Relationship Id="rId38" Type="http://schemas.openxmlformats.org/officeDocument/2006/relationships/tags" Target="../tags/tag133.xml"/><Relationship Id="rId46" Type="http://schemas.openxmlformats.org/officeDocument/2006/relationships/tags" Target="../tags/tag141.xml"/><Relationship Id="rId59" Type="http://schemas.openxmlformats.org/officeDocument/2006/relationships/tags" Target="../tags/tag154.xml"/><Relationship Id="rId67" Type="http://schemas.openxmlformats.org/officeDocument/2006/relationships/tags" Target="../tags/tag162.xml"/><Relationship Id="rId20" Type="http://schemas.openxmlformats.org/officeDocument/2006/relationships/tags" Target="../tags/tag115.xml"/><Relationship Id="rId41" Type="http://schemas.openxmlformats.org/officeDocument/2006/relationships/tags" Target="../tags/tag136.xml"/><Relationship Id="rId54" Type="http://schemas.openxmlformats.org/officeDocument/2006/relationships/tags" Target="../tags/tag149.xml"/><Relationship Id="rId62" Type="http://schemas.openxmlformats.org/officeDocument/2006/relationships/tags" Target="../tags/tag157.xml"/><Relationship Id="rId70" Type="http://schemas.openxmlformats.org/officeDocument/2006/relationships/tags" Target="../tags/tag165.xml"/><Relationship Id="rId75" Type="http://schemas.openxmlformats.org/officeDocument/2006/relationships/chart" Target="../charts/chart4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1815763"/>
              </p:ext>
            </p:extLst>
          </p:nvPr>
        </p:nvGraphicFramePr>
        <p:xfrm>
          <a:off x="1588" y="1588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187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801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ts val="3988"/>
              </a:lnSpc>
              <a:spcBef>
                <a:spcPct val="0"/>
              </a:spcBef>
            </a:pPr>
            <a:endParaRPr kumimoji="0" lang="en-GB" sz="28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074" name="Text Box 2"/>
          <p:cNvSpPr txBox="1">
            <a:spLocks noChangeArrowheads="1"/>
          </p:cNvSpPr>
          <p:nvPr/>
        </p:nvSpPr>
        <p:spPr bwMode="auto">
          <a:xfrm>
            <a:off x="4470403" y="2798764"/>
            <a:ext cx="2935288" cy="560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7483" tIns="33741" rIns="67483" bIns="33741">
            <a:spAutoFit/>
          </a:bodyPr>
          <a:lstStyle>
            <a:lvl1pPr defTabSz="674688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674688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</a:pPr>
            <a:r>
              <a:rPr lang="en-US" altLang="zh-CN" sz="3200" dirty="0">
                <a:solidFill>
                  <a:schemeClr val="bg1"/>
                </a:solidFill>
                <a:ea typeface="宋体" pitchFamily="2" charset="-122"/>
              </a:rPr>
              <a:t>BILD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69899" y="4138617"/>
            <a:ext cx="9088437" cy="574675"/>
          </a:xfrm>
        </p:spPr>
        <p:txBody>
          <a:bodyPr/>
          <a:lstStyle/>
          <a:p>
            <a:r>
              <a:rPr lang="da-DK" dirty="0" smtClean="0"/>
              <a:t>PR69.OP FAW-VW </a:t>
            </a:r>
            <a:r>
              <a:rPr lang="en-GB" dirty="0" smtClean="0"/>
              <a:t>Volume Planning Presentation</a:t>
            </a:r>
            <a:endParaRPr lang="en-US" altLang="zh-CN" sz="2800" dirty="0" smtClean="0">
              <a:ea typeface="宋体" pitchFamily="2" charset="-122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altLang="zh-CN" dirty="0" smtClean="0"/>
              <a:t>8</a:t>
            </a:r>
            <a:r>
              <a:rPr lang="en-US" altLang="zh-CN" baseline="30000" dirty="0" smtClean="0"/>
              <a:t>th</a:t>
            </a:r>
            <a:r>
              <a:rPr lang="en-US" altLang="zh-CN" dirty="0" smtClean="0"/>
              <a:t> </a:t>
            </a:r>
            <a:r>
              <a:rPr lang="en-US" dirty="0" smtClean="0"/>
              <a:t>July, 2020</a:t>
            </a:r>
            <a:endParaRPr lang="en-US" dirty="0"/>
          </a:p>
        </p:txBody>
      </p:sp>
      <p:pic>
        <p:nvPicPr>
          <p:cNvPr id="3077" name="Picture 6" descr="Titel_Illu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225" y="1755775"/>
            <a:ext cx="9055100" cy="217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5531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ct 8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4872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1091" name="think-cell Slide" r:id="rId145" imgW="470" imgH="469" progId="TCLayout.ActiveDocument.1">
                  <p:embed/>
                </p:oleObj>
              </mc:Choice>
              <mc:Fallback>
                <p:oleObj name="think-cell Slide" r:id="rId14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angle 7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7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W-VW </a:t>
            </a:r>
            <a:r>
              <a:rPr lang="en-US" u="sng" dirty="0" smtClean="0"/>
              <a:t>VW+ Jetta</a:t>
            </a:r>
            <a:r>
              <a:rPr lang="en-US" dirty="0" smtClean="0"/>
              <a:t> and </a:t>
            </a:r>
            <a:r>
              <a:rPr lang="en-US" u="sng" dirty="0" smtClean="0"/>
              <a:t>Audi CKD </a:t>
            </a:r>
            <a:r>
              <a:rPr lang="en-US" dirty="0"/>
              <a:t>PR69.OP Volume Planning 2020-2030</a:t>
            </a:r>
            <a:endParaRPr lang="en-US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10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Group Market and Sales Steering</a:t>
            </a:r>
            <a:endParaRPr lang="de-DE" noProof="0" dirty="0"/>
          </a:p>
        </p:txBody>
      </p:sp>
      <p:graphicFrame>
        <p:nvGraphicFramePr>
          <p:cNvPr id="166" name="Chart 165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75592310"/>
              </p:ext>
            </p:extLst>
          </p:nvPr>
        </p:nvGraphicFramePr>
        <p:xfrm>
          <a:off x="1147763" y="1808163"/>
          <a:ext cx="8431212" cy="1436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7"/>
          </a:graphicData>
        </a:graphic>
      </p:graphicFrame>
      <p:cxnSp>
        <p:nvCxnSpPr>
          <p:cNvPr id="6" name="Straight Connector 5"/>
          <p:cNvCxnSpPr/>
          <p:nvPr>
            <p:custDataLst>
              <p:tags r:id="rId5"/>
            </p:custDataLst>
          </p:nvPr>
        </p:nvCxnSpPr>
        <p:spPr bwMode="auto">
          <a:xfrm flipH="1">
            <a:off x="1717675" y="3003550"/>
            <a:ext cx="61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Rectangle 14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779588" y="2951163"/>
            <a:ext cx="74613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7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  <a:defRPr/>
            </a:pPr>
            <a:fld id="{CAA688B8-0E8A-4829-AC80-B4B57E1AE4E1}" type="datetime'''''''''''''''''1'''''''''''''''''''''''''''''''''''''''''''">
              <a:rPr lang="en-US" altLang="en-US" sz="700" b="1" smtClean="0">
                <a:solidFill>
                  <a:srgbClr val="FFFFFF"/>
                </a:solidFill>
              </a:rPr>
              <a:pPr lvl="0">
                <a:lnSpc>
                  <a:spcPct val="100000"/>
                </a:lnSpc>
                <a:spcAft>
                  <a:spcPct val="0"/>
                </a:spcAft>
                <a:defRPr/>
              </a:pPr>
              <a:t>1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1470025" y="3192463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B9D4947-7F42-4B58-AEFB-F299696F0AE0}" type="datetime'''''''''''''''''''''''''''''''''''''''2''01''''''''''9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19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436689" y="190023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4C51980-498F-4429-88A0-DDB91F9B6D77}" type="datetime'''''''''''''5''''''''''.''''''''''''0''''''''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8305800" y="1763713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0E3CACF-C366-48B4-B47B-32CDD45B87A2}" type="datetime'''''''6,''''''''''''''''''''''''500''''''''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,50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3484563" y="2563813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EE23476-0122-49AC-82D2-7AFE0C8BC80D}" type="datetime'''''''''''''''''''2,''''''6''''5''''''''''''''0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65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9" name="Rectangle 18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1452563" y="3030538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51EDB7C-7F5F-4E4C-AC4E-6837CAF16943}" type="datetime'1'''',''''''''0''''''''''''''''''''''''''0''''''''''0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0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7651750" y="2671763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A413A2A-1732-4C31-B3D1-02658AB9F418}" type="datetime'''''''''''5,''''''''''''''''''''''5''''''''0''''''''''''''''0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,5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2125664" y="1843088"/>
            <a:ext cx="2762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AA7769A-DF05-4365-A3DC-F479DF6BC777}" type="datetime'''''''''''''6.''''0%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6.0%</a:t>
            </a:fld>
            <a:endParaRPr kumimoji="0" lang="en-US" sz="9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3519488" y="2911475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2598E97-CD2F-4145-80F8-565F6D79C2D9}" type="datetime'2,''''''''50''''''''''''''''''''''''''''''0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5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2159000" y="3192463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853B814-EB5B-42E4-B48D-72186493B011}" type="datetime'''''''2''''''''''''0''''''''''''2''''''''''''''''''''''0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4933950" y="2533650"/>
            <a:ext cx="173038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D8DCF36-2558-4EA3-8F40-F8BF3344949D}" type="datetime'''''''''''''''''''''2''''''''''5''''''''''0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5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7" name="Rectangle 16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2141538" y="2984500"/>
            <a:ext cx="244475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B9A69B2-8B76-4669-972B-0D2E604446A0}" type="datetime'1'',''''''''''''''''''''5''''0''''''''''''''''0'''''">
              <a:rPr lang="en-US" altLang="en-US" sz="7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5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2795588" y="2647950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CEF81B4-EC5F-4BE8-8938-478F38F8D38F}" type="datetime'''''''''''''''''''''''''2'''''''''''',1''''00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10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2814639" y="190023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ED45D98-E821-4040-A648-6CB073D07DBB}" type="datetime'''''''''''''''''''''''''''''5''''''''''''.''0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2867024" y="2784475"/>
            <a:ext cx="173038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D1735AE-82DB-4619-81BC-C099394B10E6}" type="datetime'''''''''''''''''''''''''1''''''''''''''0''0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830513" y="2951163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B72E1C5-58C0-43E0-B7A4-6134FB164E7F}" type="datetime'''''''''''''''''''''''''''''''''2'',''0''''''''''0''''''0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0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2847975" y="3192463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B5EED7B-DA55-4837-A921-F2851404B53A}" type="datetime'''''2''''''''0''''''''''''''''''''''''2''''''''1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1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8377238" y="2116138"/>
            <a:ext cx="173038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FCFE116-1FBF-4AA5-BA87-8F4BE0B8E9A4}" type="datetime'''''''5''''0''0''''''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3503614" y="185737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C6C1145-3296-4A02-92BD-B8CA2F48E640}" type="datetime'6''''''''''''''.''0''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3556000" y="2700338"/>
            <a:ext cx="173038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E33C8D8-206D-48AD-AC6A-1870E2545523}" type="datetime'''''''''''''''1''''50''''''''''''''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5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3536950" y="3192463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517082B-6D0D-4AC9-8AC6-C50074389F1A}" type="datetime'''''''2''''''''0''2''''''''''2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2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 useBgFill="1">
        <p:nvSpPr>
          <p:cNvPr id="65" name="Rectangle 64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431088" y="2054225"/>
            <a:ext cx="315913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3B7B730-B037-45EB-9242-881222F010A1}" type="datetime'''''''''''5'''''''''',''''9''''''5''''0''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,95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4192589" y="190023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13C4010-FF99-4EB0-8AFD-F6C1C237B987}" type="datetime'''''''5''''''''.''''''0''''''''''''''''''''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6927850" y="2141538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1F76721-8CE9-4C0B-88E3-FF9BB418044B}" type="datetime'''''''''''''''''''5,''''''''''''''40''''0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,40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9013826" y="185737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293D1EC-2106-4CFC-A2E9-D08BC768684E}" type="datetime'''''''''''''6''''''''''''''''.''''''''''''''0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4244975" y="2617788"/>
            <a:ext cx="173038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C721DDD-700D-4E2E-ABBE-ADE8D335F4D8}" type="datetime'''2''''0''0''''''''''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6273800" y="2751138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4A0DEE9-0787-46BF-9906-F93FBD700F8B}" type="datetime'''''''''''''4'''''''''''''''''''''''',''5''''''''''''''0''''0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,5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4208463" y="2871788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174CB7B-6BB6-4EE5-A35F-814DB9FEC359}" type="datetime'''''''''''''3'''''''''''''',''''''000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,0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6238875" y="2228850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EF5D24E-CB0A-4BC8-B783-25EE71F41FBE}" type="datetime'''''''''''''''''4'''''''''''''',''''''''''''85''0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,85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" name="Rectangle 12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4225925" y="3192463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07F018E-D7F0-4E1D-BC96-18D9DC39597A}" type="datetime'''''''2''''''''02''''3''''''''''''''''''''''''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3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4881564" y="185737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8C086AA-E6E1-4866-9836-41E2A0764F70}" type="datetime'''''''6''''''''''''''''.0''''''''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5584825" y="2786063"/>
            <a:ext cx="244475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9E8BA38-AB72-4404-952F-013EB777C91F}" type="datetime'''''''''4'''''''''''''''''',''0''''''''00'''">
              <a:rPr lang="en-US" altLang="en-US" sz="7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4,0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4897438" y="2832100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5670E26-B4A4-4432-A042-6D885B07F46C}" type="datetime'3'''''''',''''''''5''''''''''''0''0''''''''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,5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8358188" y="3192463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CC460BD-9C99-4FBD-B61C-1ABBBB495443}" type="datetime'''2''''''''''''0''2''''''''''''''''''''9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9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4914900" y="3192463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9B59CED-4C92-4D95-8528-0E789B866284}" type="datetime'''''2''''0''''24''''''''''''''''''''''''''''''''''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4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2106613" y="2713038"/>
            <a:ext cx="3159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5CFF498-436B-47E2-8A39-BE889209D049}" type="datetime'1'''''''''''''''''',''''5''''''''''''''''0''''5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505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5568951" y="190023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548285B-665A-4F13-BBB1-E667747985FA}" type="datetime'''''''''''''''''''''''''''5''''.''''0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5549900" y="2259013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26E34A6-FB7B-4BD5-9718-BB0907A548C4}" type="datetime'4'''',''''''''''''''''3''''''''''''0''''''''''0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,30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8340725" y="2632075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B24E73A-8BD6-491E-80F0-44CBABA4414B}" type="datetime'6'''''''''''''''''''''''''''''''',''''''''0''''''0''''''0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,0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5573713" y="2395538"/>
            <a:ext cx="268288" cy="21272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0B05E6C-20F1-46A4-AD4B-926A99A6BB88}" type="datetime'3''''''''''''''0''''''''''''''''0''''''''''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00</a:t>
            </a:fld>
            <a:r>
              <a:rPr kumimoji="0" lang="en-US" alt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/>
            </a:r>
            <a:br>
              <a:rPr kumimoji="0" lang="en-US" alt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</a:br>
            <a:r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fld id="{E5A66FBA-CEC0-4BED-97B8-ABD40FCCEB21}" type="datetime'7''''''.''''''0''''''''''%''''''''''''''''''''''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.0%</a:t>
            </a:fld>
            <a:r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)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6962775" y="2711450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243B837-994A-47F4-8F44-2E8D324B6958}" type="datetime'''''''''5,''''''''0''''''''''''''''''''''0''0''''''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,0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auto">
          <a:xfrm>
            <a:off x="5602288" y="3192463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FBBB4E5-BC36-4DA9-B70B-2741E04ECB15}" type="datetime'''''''''''2''''''''''''''''''''''0''2''''''''5''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5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6257926" y="185737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6B4955C-7AF0-4006-BDCA-2AD45ACCF468}" type="datetime'''''6''''''''.''''''0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6310313" y="2365375"/>
            <a:ext cx="173038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10C3C71-D8DA-42BC-B721-E9A53E8251BC}" type="datetime'''''''''''''''''''''''''''3''''5''''''''''''''''0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5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8994775" y="1720850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9FCA5B7-8A7D-450D-9967-EA8619F16279}" type="datetime'''''7,''''''''''''''''''''0''''''5''''''''0''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,05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1417638" y="2841625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9F4F65C-005C-4F8A-BE7A-458960C70DD4}" type="datetime'1'''''''''',0''''''''''''''0''''''''''''''''''1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001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7635876" y="185737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B174F34-C784-472E-9B97-1F207A6C0803}" type="datetime'''''''''''''''6''.''0''''''''''''''''''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6946901" y="190023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E55EEE9-8C7E-4A9C-B635-A5A6D2B5C5D7}" type="datetime'''''''''5''''''''''''''''''.''0''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gray">
          <a:xfrm>
            <a:off x="6999288" y="2282825"/>
            <a:ext cx="173038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6DC0478-54F7-45F4-ADD5-4330D0635F51}" type="datetime'''''''''''''4''''0''''''''''0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auto">
          <a:xfrm>
            <a:off x="6980238" y="3192463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6DB0D8A-8A33-42E0-B0A2-DC7AC6D9ECA2}" type="datetime'''''''''''''''''''''2''''''''''''''''''''''''''0''''27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7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7688263" y="2198688"/>
            <a:ext cx="173038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4547102-C0F5-4845-9FC4-B1A78CD17610}" type="datetime'''''4''''''5''''''''''''''''''0''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5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auto">
          <a:xfrm>
            <a:off x="7669213" y="3192463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086A7BD-9E6D-4384-A365-4DC27A530BC1}" type="datetime'''''''''''2''''''''0''''''''''''2''''''''''''''''8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8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auto">
          <a:xfrm>
            <a:off x="6291263" y="3192463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021533E-45F6-427C-B12E-9764C7F5441E}" type="datetime'''''''''2''''''''''''''''''''''''''0''''2''''''6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6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9018588" y="1978025"/>
            <a:ext cx="268288" cy="21272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374532C-C619-4CC3-8D73-58CEEF88A3E2}" type="datetime'''''5''''''''''''''''''''''''''''''5''0''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50</a:t>
            </a:fld>
            <a:r>
              <a:rPr kumimoji="0" lang="en-US" alt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/>
            </a:r>
            <a:br>
              <a:rPr kumimoji="0" lang="en-US" alt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</a:br>
            <a:r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fld id="{161A4E34-3AA1-4EF7-852F-F2A578C5D305}" type="datetime'''''''7''''''''''''''''''''''''''''.''''''''8''%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.8%</a:t>
            </a:fld>
            <a:r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)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9029700" y="2592388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C9600B5-F903-431F-AA93-69C230AF3493}" type="datetime'''6'''''''''''''',''''''''''''''''''''''5''''00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,5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auto">
          <a:xfrm>
            <a:off x="9047163" y="3192463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C8F3709-E1CB-434F-9636-162F93E93F69}" type="datetime'''''''''''2''''''''''''''''''''0''''3''''''0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3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4173538" y="2481263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8707DF7-6C23-4F8B-A5F6-A98645C3F99F}" type="datetime'3'''''''',''2''''''''''''0''''''''''''''''''0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,20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gray">
          <a:xfrm>
            <a:off x="4862513" y="2397125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250BFAD-F31B-48A6-A3D7-C550ACD9F6B4}" type="datetime'''''''3'''''''',''''''''''''''''''''75''''''''0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,75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9" name="Rectangle 8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2227263" y="2863850"/>
            <a:ext cx="74613" cy="1174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54C667D-94A4-45CC-8409-2B4A77B5AD5B}" type="datetime'''''''''5''''''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5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18" name="Rectangle 17"/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gray">
          <a:xfrm>
            <a:off x="8324851" y="190023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03AB6CC-F5E4-4C35-A8E5-2494EBD0E78A}" type="datetime'''''''''''''''5''''''.0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9" name="Rectangle 68"/>
          <p:cNvSpPr/>
          <p:nvPr>
            <p:custDataLst>
              <p:tags r:id="rId66"/>
            </p:custDataLst>
          </p:nvPr>
        </p:nvSpPr>
        <p:spPr bwMode="auto">
          <a:xfrm>
            <a:off x="461963" y="2573338"/>
            <a:ext cx="125413" cy="93663"/>
          </a:xfrm>
          <a:prstGeom prst="rect">
            <a:avLst/>
          </a:prstGeom>
          <a:solidFill>
            <a:srgbClr val="007770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68" name="Straight Connector 67"/>
          <p:cNvCxnSpPr/>
          <p:nvPr>
            <p:custDataLst>
              <p:tags r:id="rId67"/>
            </p:custDataLst>
          </p:nvPr>
        </p:nvCxnSpPr>
        <p:spPr bwMode="auto">
          <a:xfrm>
            <a:off x="463550" y="2462213"/>
            <a:ext cx="8572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7" name="Rectangle 66"/>
          <p:cNvSpPr/>
          <p:nvPr>
            <p:custDataLst>
              <p:tags r:id="rId68"/>
            </p:custDataLst>
          </p:nvPr>
        </p:nvSpPr>
        <p:spPr bwMode="auto">
          <a:xfrm>
            <a:off x="461963" y="2730500"/>
            <a:ext cx="125413" cy="93663"/>
          </a:xfrm>
          <a:prstGeom prst="rect">
            <a:avLst/>
          </a:prstGeom>
          <a:solidFill>
            <a:srgbClr val="C0D9E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0" name="Oval 69"/>
          <p:cNvSpPr/>
          <p:nvPr>
            <p:custDataLst>
              <p:tags r:id="rId69"/>
            </p:custDataLst>
          </p:nvPr>
        </p:nvSpPr>
        <p:spPr bwMode="auto">
          <a:xfrm>
            <a:off x="493713" y="2449513"/>
            <a:ext cx="25400" cy="254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auto">
          <a:xfrm>
            <a:off x="638175" y="2413000"/>
            <a:ext cx="19208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  <a:defRPr/>
            </a:pPr>
            <a:fld id="{160C0AFC-BE91-4466-AC2B-53E8988F31BD}" type="datetime'''''''''''''''''''''''''M''''''''''S''''%'''''''''">
              <a:rPr lang="en-US" altLang="en-US" sz="700" b="1" smtClean="0">
                <a:solidFill>
                  <a:srgbClr val="000000"/>
                </a:solidFill>
              </a:rPr>
              <a:pPr lvl="0">
                <a:lnSpc>
                  <a:spcPct val="100000"/>
                </a:lnSpc>
                <a:spcAft>
                  <a:spcPct val="0"/>
                </a:spcAft>
                <a:defRPr/>
              </a:pPr>
              <a:t>MS%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auto">
          <a:xfrm>
            <a:off x="638175" y="2570163"/>
            <a:ext cx="163513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  <a:defRPr/>
            </a:pPr>
            <a:fld id="{DAD7FD1B-C0E1-4565-A4DD-98B72A71F639}" type="datetime'''''''''''''''''''''''N''''''''''E''''V'''''''''">
              <a:rPr lang="en-US" altLang="en-US" sz="700" b="1" smtClean="0">
                <a:solidFill>
                  <a:srgbClr val="000000"/>
                </a:solidFill>
              </a:rPr>
              <a:pPr lvl="0">
                <a:lnSpc>
                  <a:spcPct val="100000"/>
                </a:lnSpc>
                <a:spcAft>
                  <a:spcPct val="0"/>
                </a:spcAft>
                <a:defRPr/>
              </a:pPr>
              <a:t>NEV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auto">
          <a:xfrm>
            <a:off x="638175" y="2727325"/>
            <a:ext cx="12223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  <a:defRPr/>
            </a:pPr>
            <a:fld id="{F39272B8-57CB-43B2-ABA4-8F3FF770AF4B}" type="datetime'''''''I''''''''''''''''''''''''''''''C''''''''''''''''''E'''''">
              <a:rPr lang="en-US" altLang="en-US" sz="700" b="1" smtClean="0">
                <a:solidFill>
                  <a:srgbClr val="000000"/>
                </a:solidFill>
              </a:rPr>
              <a:pPr lvl="0">
                <a:lnSpc>
                  <a:spcPct val="100000"/>
                </a:lnSpc>
                <a:spcAft>
                  <a:spcPct val="0"/>
                </a:spcAft>
                <a:defRPr/>
              </a:pPr>
              <a:t>ICE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graphicFrame>
        <p:nvGraphicFramePr>
          <p:cNvPr id="74" name="Table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903949"/>
              </p:ext>
            </p:extLst>
          </p:nvPr>
        </p:nvGraphicFramePr>
        <p:xfrm>
          <a:off x="295836" y="3168649"/>
          <a:ext cx="9211203" cy="408771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9821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195411">
                <a:tc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T="9525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19A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057">
                <a:tc>
                  <a:txBody>
                    <a:bodyPr/>
                    <a:lstStyle/>
                    <a:p>
                      <a:pPr algn="l"/>
                      <a:r>
                        <a:rPr lang="en-US" sz="8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EV Penetration</a:t>
                      </a:r>
                      <a:endParaRPr lang="en-US" sz="8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0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0.2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0.3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0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0.2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0.3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0.1%</a:t>
                      </a:r>
                    </a:p>
                  </a:txBody>
                  <a:tcPr marL="9525" marR="9525" marT="9525" marB="0" anchor="ctr"/>
                </a:tc>
                <a:tc gridSpan="5"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5" name="TextBox 74"/>
          <p:cNvSpPr txBox="1"/>
          <p:nvPr/>
        </p:nvSpPr>
        <p:spPr>
          <a:xfrm>
            <a:off x="385638" y="1890713"/>
            <a:ext cx="655638" cy="369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graphicFrame>
        <p:nvGraphicFramePr>
          <p:cNvPr id="167" name="Chart 166"/>
          <p:cNvGraphicFramePr/>
          <p:nvPr>
            <p:custDataLst>
              <p:tags r:id="rId73"/>
            </p:custDataLst>
            <p:extLst>
              <p:ext uri="{D42A27DB-BD31-4B8C-83A1-F6EECF244321}">
                <p14:modId xmlns:p14="http://schemas.microsoft.com/office/powerpoint/2010/main" val="4276040297"/>
              </p:ext>
            </p:extLst>
          </p:nvPr>
        </p:nvGraphicFramePr>
        <p:xfrm>
          <a:off x="1130300" y="4511675"/>
          <a:ext cx="8431213" cy="130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8"/>
          </a:graphicData>
        </a:graphic>
      </p:graphicFrame>
      <p:cxnSp>
        <p:nvCxnSpPr>
          <p:cNvPr id="76" name="Straight Connector 75"/>
          <p:cNvCxnSpPr/>
          <p:nvPr>
            <p:custDataLst>
              <p:tags r:id="rId74"/>
            </p:custDataLst>
          </p:nvPr>
        </p:nvCxnSpPr>
        <p:spPr bwMode="auto">
          <a:xfrm flipH="1">
            <a:off x="1700213" y="5594350"/>
            <a:ext cx="61912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" name="Straight Connector 76"/>
          <p:cNvCxnSpPr/>
          <p:nvPr>
            <p:custDataLst>
              <p:tags r:id="rId75"/>
            </p:custDataLst>
          </p:nvPr>
        </p:nvCxnSpPr>
        <p:spPr bwMode="auto">
          <a:xfrm>
            <a:off x="9134475" y="4391025"/>
            <a:ext cx="0" cy="33972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3" name="Rectangle 92"/>
          <p:cNvSpPr>
            <a:spLocks noGrp="1" noChangeArrowheads="1"/>
          </p:cNvSpPr>
          <p:nvPr>
            <p:custDataLst>
              <p:tags r:id="rId76"/>
            </p:custDataLst>
          </p:nvPr>
        </p:nvSpPr>
        <p:spPr bwMode="gray">
          <a:xfrm>
            <a:off x="2813050" y="5541963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DB8AE5D-EE1D-42E2-B71F-508823F16CD9}" type="datetime'''2'''''''''''''''''''',0''''''''''''0''''''''''''''0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0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4" name="Rectangle 133"/>
          <p:cNvSpPr>
            <a:spLocks noGrp="1" noChangeArrowheads="1"/>
          </p:cNvSpPr>
          <p:nvPr>
            <p:custDataLst>
              <p:tags r:id="rId77"/>
            </p:custDataLst>
          </p:nvPr>
        </p:nvSpPr>
        <p:spPr bwMode="gray">
          <a:xfrm>
            <a:off x="7670799" y="4867275"/>
            <a:ext cx="173038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3393C60-88C5-4C4C-AB1F-C3AE071512F2}" type="datetime'4''''''''''''''''''''''''5''''''''''''''''0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5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1" name="Rectangle 130"/>
          <p:cNvSpPr>
            <a:spLocks noGrp="1" noChangeArrowheads="1"/>
          </p:cNvSpPr>
          <p:nvPr>
            <p:custDataLst>
              <p:tags r:id="rId78"/>
            </p:custDataLst>
          </p:nvPr>
        </p:nvSpPr>
        <p:spPr bwMode="auto">
          <a:xfrm>
            <a:off x="6962775" y="5767388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A1C33EF-56FA-410D-A9C5-1395B6A15397}" type="datetime'2''0''''''''''''''''''2''7''''''''''''''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7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94" name="Rectangle 93"/>
          <p:cNvSpPr>
            <a:spLocks noGrp="1" noChangeArrowheads="1"/>
          </p:cNvSpPr>
          <p:nvPr>
            <p:custDataLst>
              <p:tags r:id="rId79"/>
            </p:custDataLst>
          </p:nvPr>
        </p:nvSpPr>
        <p:spPr bwMode="gray">
          <a:xfrm>
            <a:off x="1419225" y="4462463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9C5E4DA-16A3-4F86-87B0-B48CB584A83E}" type="datetime'''''''''''5''''''.''''''''''''''''''0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92" name="Rectangle 91"/>
          <p:cNvSpPr>
            <a:spLocks noGrp="1" noChangeArrowheads="1"/>
          </p:cNvSpPr>
          <p:nvPr>
            <p:custDataLst>
              <p:tags r:id="rId80"/>
            </p:custDataLst>
          </p:nvPr>
        </p:nvSpPr>
        <p:spPr bwMode="auto">
          <a:xfrm>
            <a:off x="1452563" y="5767388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CD4E9DF-AFF6-4F6D-94DB-8D4A7083DA77}" type="datetime'''2''''''0''''''''''''''''''19''''''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19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7" name="Rectangle 126"/>
          <p:cNvSpPr>
            <a:spLocks noGrp="1" noChangeArrowheads="1"/>
          </p:cNvSpPr>
          <p:nvPr>
            <p:custDataLst>
              <p:tags r:id="rId81"/>
            </p:custDataLst>
          </p:nvPr>
        </p:nvSpPr>
        <p:spPr bwMode="gray">
          <a:xfrm>
            <a:off x="1400175" y="5432425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A98B5AB-B871-40F6-A9AF-37E8F91F6195}" type="datetime'''''1,''''''''''''''''''0''''0''''''''''''''''''''''''''''1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001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5" name="Rectangle 124"/>
          <p:cNvSpPr>
            <a:spLocks noGrp="1" noChangeArrowheads="1"/>
          </p:cNvSpPr>
          <p:nvPr>
            <p:custDataLst>
              <p:tags r:id="rId82"/>
            </p:custDataLst>
          </p:nvPr>
        </p:nvSpPr>
        <p:spPr bwMode="gray">
          <a:xfrm>
            <a:off x="6945313" y="5327650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330303F-5EF6-48C7-A1B8-FF5C8A0CD270}" type="datetime'''''''5'''''''''''',''''''0''''''''''''''0''0''''''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,0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97" name="Rectangle 96"/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gray">
          <a:xfrm>
            <a:off x="1435100" y="5613400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D300B53-7C1C-49C4-A3D0-5644F2F486AA}" type="datetime'1'',''''''''''00''''0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0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0" name="Rectangle 139"/>
          <p:cNvSpPr>
            <a:spLocks noGrp="1" noChangeArrowheads="1"/>
          </p:cNvSpPr>
          <p:nvPr>
            <p:custDataLst>
              <p:tags r:id="rId84"/>
            </p:custDataLst>
          </p:nvPr>
        </p:nvSpPr>
        <p:spPr bwMode="gray">
          <a:xfrm>
            <a:off x="2089150" y="5313363"/>
            <a:ext cx="3159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D830948-A1AF-4620-820F-3CAAC1806848}" type="datetime'''''''''''1'''''''''''',''''''5''''''''0''5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505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100" name="Rectangle 99"/>
          <p:cNvSpPr>
            <a:spLocks noGrp="1" noChangeArrowheads="1"/>
          </p:cNvSpPr>
          <p:nvPr>
            <p:custDataLst>
              <p:tags r:id="rId85"/>
            </p:custDataLst>
          </p:nvPr>
        </p:nvSpPr>
        <p:spPr bwMode="gray">
          <a:xfrm>
            <a:off x="2124075" y="5570538"/>
            <a:ext cx="244475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A74E2B7-C0BF-484A-8044-DD945DE98335}" type="datetime'''1'''',''''''''''''5''''''''00''''''''''''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5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99" name="Rectangle 98"/>
          <p:cNvSpPr>
            <a:spLocks noGrp="1" noChangeArrowheads="1"/>
          </p:cNvSpPr>
          <p:nvPr>
            <p:custDataLst>
              <p:tags r:id="rId86"/>
            </p:custDataLst>
          </p:nvPr>
        </p:nvSpPr>
        <p:spPr bwMode="gray">
          <a:xfrm>
            <a:off x="2108200" y="4376738"/>
            <a:ext cx="2762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B7A4A94-EC30-4906-8330-8C386E35AA3E}" type="datetime'''''6.''''''''''''''''''''''''''''''''''0''''''''%'''''''">
              <a:rPr lang="en-US" altLang="en-US" sz="9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6.0%</a:t>
            </a:fld>
            <a:endParaRPr kumimoji="0" lang="en-US" sz="9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139" name="Rectangle 138"/>
          <p:cNvSpPr>
            <a:spLocks noGrp="1" noChangeArrowheads="1"/>
          </p:cNvSpPr>
          <p:nvPr>
            <p:custDataLst>
              <p:tags r:id="rId87"/>
            </p:custDataLst>
          </p:nvPr>
        </p:nvSpPr>
        <p:spPr bwMode="gray">
          <a:xfrm>
            <a:off x="5532438" y="4900613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DA560AD-9835-4AFC-BBFD-51C89753780E}" type="datetime'''''4'''''''''''''''''',''3''0''''''''''0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,30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9" name="Rectangle 128"/>
          <p:cNvSpPr>
            <a:spLocks noGrp="1" noChangeArrowheads="1"/>
          </p:cNvSpPr>
          <p:nvPr>
            <p:custDataLst>
              <p:tags r:id="rId88"/>
            </p:custDataLst>
          </p:nvPr>
        </p:nvSpPr>
        <p:spPr bwMode="gray">
          <a:xfrm>
            <a:off x="2778125" y="5254625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8D1A4A1-EC8E-4C50-8860-80C7C657C1C5}" type="datetime'''''2,''''''''''''''''''''''''1''0''''''''0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10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8" name="Rectangle 127"/>
          <p:cNvSpPr>
            <a:spLocks noGrp="1" noChangeArrowheads="1"/>
          </p:cNvSpPr>
          <p:nvPr>
            <p:custDataLst>
              <p:tags r:id="rId89"/>
            </p:custDataLst>
          </p:nvPr>
        </p:nvSpPr>
        <p:spPr bwMode="gray">
          <a:xfrm>
            <a:off x="6256338" y="5362575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C02FF03-F052-46A8-8C03-837071F6E891}" type="datetime'''''4'''''',''5''''''''''''''''''''''''''''''0''0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,5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9" name="Rectangle 88"/>
          <p:cNvSpPr>
            <a:spLocks noGrp="1" noChangeArrowheads="1"/>
          </p:cNvSpPr>
          <p:nvPr>
            <p:custDataLst>
              <p:tags r:id="rId90"/>
            </p:custDataLst>
          </p:nvPr>
        </p:nvSpPr>
        <p:spPr bwMode="auto">
          <a:xfrm>
            <a:off x="2141538" y="5767388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0AEDEB5-6E8C-44F2-BBEB-C63138D01952}" type="datetime'''2''''''0''''''''2''''''''''''0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91" name="Rectangle 90"/>
          <p:cNvSpPr>
            <a:spLocks noGrp="1" noChangeArrowheads="1"/>
          </p:cNvSpPr>
          <p:nvPr>
            <p:custDataLst>
              <p:tags r:id="rId91"/>
            </p:custDataLst>
          </p:nvPr>
        </p:nvSpPr>
        <p:spPr bwMode="gray">
          <a:xfrm>
            <a:off x="2209800" y="5464175"/>
            <a:ext cx="74613" cy="1174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30E821C-5787-4B57-BCC1-F935543E919C}" type="datetime'''''''''''''''5'''''''">
              <a:rPr lang="en-US" altLang="en-US" sz="7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5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126" name="Rectangle 125"/>
          <p:cNvSpPr>
            <a:spLocks noGrp="1" noChangeArrowheads="1"/>
          </p:cNvSpPr>
          <p:nvPr>
            <p:custDataLst>
              <p:tags r:id="rId92"/>
            </p:custDataLst>
          </p:nvPr>
        </p:nvSpPr>
        <p:spPr bwMode="gray">
          <a:xfrm>
            <a:off x="6292849" y="5016500"/>
            <a:ext cx="173038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6AC9490-BA53-4308-868C-3849DD8B0D54}" type="datetime'3''''''''''50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5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4" name="Rectangle 103"/>
          <p:cNvSpPr>
            <a:spLocks noGrp="1" noChangeArrowheads="1"/>
          </p:cNvSpPr>
          <p:nvPr>
            <p:custDataLst>
              <p:tags r:id="rId93"/>
            </p:custDataLst>
          </p:nvPr>
        </p:nvSpPr>
        <p:spPr bwMode="auto">
          <a:xfrm>
            <a:off x="4208463" y="5767388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9968B01-6C2B-413D-9504-1154713327C4}" type="datetime'''''''''''''''''''''''''''''2''''''023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3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3" name="Rectangle 102"/>
          <p:cNvSpPr>
            <a:spLocks noGrp="1" noChangeArrowheads="1"/>
          </p:cNvSpPr>
          <p:nvPr>
            <p:custDataLst>
              <p:tags r:id="rId94"/>
            </p:custDataLst>
          </p:nvPr>
        </p:nvSpPr>
        <p:spPr bwMode="gray">
          <a:xfrm>
            <a:off x="2797175" y="4462463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3081F4C-923A-4C8D-96A9-DF622BB3B303}" type="datetime'''''''''5''''''''''''''''''''''''''''''.''''0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7" name="Rectangle 116"/>
          <p:cNvSpPr>
            <a:spLocks noGrp="1" noChangeArrowheads="1"/>
          </p:cNvSpPr>
          <p:nvPr>
            <p:custDataLst>
              <p:tags r:id="rId95"/>
            </p:custDataLst>
          </p:nvPr>
        </p:nvSpPr>
        <p:spPr bwMode="gray">
          <a:xfrm>
            <a:off x="4864100" y="439102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6D05228-0BFB-4C60-AC6B-520E80E483A3}" type="datetime'''''''''6''''''''''''.0''''''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95" name="Rectangle 94"/>
          <p:cNvSpPr>
            <a:spLocks noGrp="1" noChangeArrowheads="1"/>
          </p:cNvSpPr>
          <p:nvPr>
            <p:custDataLst>
              <p:tags r:id="rId96"/>
            </p:custDataLst>
          </p:nvPr>
        </p:nvSpPr>
        <p:spPr bwMode="gray">
          <a:xfrm>
            <a:off x="2849562" y="5391150"/>
            <a:ext cx="173038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F6B313E-2DE6-4994-8AB5-C2E87E97B7AE}" type="datetime'''1''''''''''0''''''''''0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5" name="Rectangle 104"/>
          <p:cNvSpPr>
            <a:spLocks noGrp="1" noChangeArrowheads="1"/>
          </p:cNvSpPr>
          <p:nvPr>
            <p:custDataLst>
              <p:tags r:id="rId97"/>
            </p:custDataLst>
          </p:nvPr>
        </p:nvSpPr>
        <p:spPr bwMode="auto">
          <a:xfrm>
            <a:off x="2830513" y="5767388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4312BCC-D328-4AC1-8C28-D2B418A86A8F}" type="datetime'''''''''''''''''2''''''''''02''1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1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90" name="Rectangle 89"/>
          <p:cNvSpPr>
            <a:spLocks noGrp="1" noChangeArrowheads="1"/>
          </p:cNvSpPr>
          <p:nvPr>
            <p:custDataLst>
              <p:tags r:id="rId98"/>
            </p:custDataLst>
          </p:nvPr>
        </p:nvSpPr>
        <p:spPr bwMode="gray">
          <a:xfrm>
            <a:off x="8996363" y="439102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CDA50C3-6BD4-4433-894F-CBB635196ABF}" type="datetime'''''6''''''''''''''.''''''''''''''''''''''''''0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7" name="Rectangle 106"/>
          <p:cNvSpPr>
            <a:spLocks noGrp="1" noChangeArrowheads="1"/>
          </p:cNvSpPr>
          <p:nvPr>
            <p:custDataLst>
              <p:tags r:id="rId99"/>
            </p:custDataLst>
          </p:nvPr>
        </p:nvSpPr>
        <p:spPr bwMode="gray">
          <a:xfrm>
            <a:off x="7634288" y="5291138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430DE19-E14D-472A-99CA-BF051B9CF4CC}" type="datetime'''''''''''''5'',''''''''''''''5''''''''''''''''0''0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,5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9" name="Rectangle 108"/>
          <p:cNvSpPr>
            <a:spLocks noGrp="1" noChangeArrowheads="1"/>
          </p:cNvSpPr>
          <p:nvPr>
            <p:custDataLst>
              <p:tags r:id="rId100"/>
            </p:custDataLst>
          </p:nvPr>
        </p:nvSpPr>
        <p:spPr bwMode="gray">
          <a:xfrm>
            <a:off x="3538537" y="5316538"/>
            <a:ext cx="173038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185DF18-EE0A-46D7-AC97-4E559622DCB7}" type="datetime'''''''''''''''1''''''''''''''''''''''5''''''''''''''''''0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5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8" name="Rectangle 107"/>
          <p:cNvSpPr>
            <a:spLocks noGrp="1" noChangeArrowheads="1"/>
          </p:cNvSpPr>
          <p:nvPr>
            <p:custDataLst>
              <p:tags r:id="rId101"/>
            </p:custDataLst>
          </p:nvPr>
        </p:nvSpPr>
        <p:spPr bwMode="gray">
          <a:xfrm>
            <a:off x="3486150" y="439102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C2E9FC3-18C4-4E1F-9DA3-802762113954}" type="datetime'''''6''''''''''''''''''''''''''''''''''''''''''.''''0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6" name="Rectangle 135"/>
          <p:cNvSpPr>
            <a:spLocks noGrp="1" noChangeArrowheads="1"/>
          </p:cNvSpPr>
          <p:nvPr>
            <p:custDataLst>
              <p:tags r:id="rId102"/>
            </p:custDataLst>
          </p:nvPr>
        </p:nvSpPr>
        <p:spPr bwMode="auto">
          <a:xfrm>
            <a:off x="7651750" y="5767388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2997A3A-D9C2-4F9B-B31B-65D96BD02A9E}" type="datetime'2''''''''''''''''''0''''''2''8''''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8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0" name="Rectangle 109"/>
          <p:cNvSpPr>
            <a:spLocks noGrp="1" noChangeArrowheads="1"/>
          </p:cNvSpPr>
          <p:nvPr>
            <p:custDataLst>
              <p:tags r:id="rId103"/>
            </p:custDataLst>
          </p:nvPr>
        </p:nvSpPr>
        <p:spPr bwMode="gray">
          <a:xfrm>
            <a:off x="3502025" y="5505450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B6F990B-E758-46D3-AACB-0AC9647F87D9}" type="datetime'''''''''''''''''2'''''''''''''''',''5''''0''''''0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5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4" name="Rectangle 123"/>
          <p:cNvSpPr>
            <a:spLocks noGrp="1" noChangeArrowheads="1"/>
          </p:cNvSpPr>
          <p:nvPr>
            <p:custDataLst>
              <p:tags r:id="rId104"/>
            </p:custDataLst>
          </p:nvPr>
        </p:nvSpPr>
        <p:spPr bwMode="gray">
          <a:xfrm>
            <a:off x="6240463" y="439102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731DADF-DBB1-42E6-9083-F4A152675BC5}" type="datetime'6''''''''''''''.''''''''''''''''''''''''''''''0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1" name="Rectangle 110"/>
          <p:cNvSpPr>
            <a:spLocks noGrp="1" noChangeArrowheads="1"/>
          </p:cNvSpPr>
          <p:nvPr>
            <p:custDataLst>
              <p:tags r:id="rId105"/>
            </p:custDataLst>
          </p:nvPr>
        </p:nvSpPr>
        <p:spPr bwMode="auto">
          <a:xfrm>
            <a:off x="3519488" y="5767388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E29780C-A4EE-4047-84CF-E2470AC3ED58}" type="datetime'''''''''''''''''''2''''''0''''''''''''2''2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2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2" name="Rectangle 101"/>
          <p:cNvSpPr>
            <a:spLocks noGrp="1" noChangeArrowheads="1"/>
          </p:cNvSpPr>
          <p:nvPr>
            <p:custDataLst>
              <p:tags r:id="rId106"/>
            </p:custDataLst>
          </p:nvPr>
        </p:nvSpPr>
        <p:spPr bwMode="auto">
          <a:xfrm>
            <a:off x="6273800" y="5767388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F7175A3-10BA-417F-951B-F86348D3857C}" type="datetime'''''''''''2''0''''''''''''''2''6''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6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2" name="Rectangle 111"/>
          <p:cNvSpPr>
            <a:spLocks noGrp="1" noChangeArrowheads="1"/>
          </p:cNvSpPr>
          <p:nvPr>
            <p:custDataLst>
              <p:tags r:id="rId107"/>
            </p:custDataLst>
          </p:nvPr>
        </p:nvSpPr>
        <p:spPr bwMode="gray">
          <a:xfrm>
            <a:off x="4175125" y="4462463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A792F89-2782-4993-A885-6CACCADFB285}" type="datetime'5''''.''''''''0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4" name="Rectangle 113"/>
          <p:cNvSpPr>
            <a:spLocks noGrp="1" noChangeArrowheads="1"/>
          </p:cNvSpPr>
          <p:nvPr>
            <p:custDataLst>
              <p:tags r:id="rId108"/>
            </p:custDataLst>
          </p:nvPr>
        </p:nvSpPr>
        <p:spPr bwMode="gray">
          <a:xfrm>
            <a:off x="4227512" y="5241925"/>
            <a:ext cx="173038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51C4825-FAE3-4816-8E93-B337E84D35F5}" type="datetime'''''''''''''''''''''2''0''''''''''''''''''''''''0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1" name="Rectangle 120"/>
          <p:cNvSpPr>
            <a:spLocks noGrp="1" noChangeArrowheads="1"/>
          </p:cNvSpPr>
          <p:nvPr>
            <p:custDataLst>
              <p:tags r:id="rId109"/>
            </p:custDataLst>
          </p:nvPr>
        </p:nvSpPr>
        <p:spPr bwMode="auto">
          <a:xfrm>
            <a:off x="5584825" y="5767388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5645232-2282-4B7B-8D36-D2E701C4DC2C}" type="datetime'2''''''''''''''''''''''''0''''''''''''''''''2''''5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5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6" name="Rectangle 115"/>
          <p:cNvSpPr>
            <a:spLocks noGrp="1" noChangeArrowheads="1"/>
          </p:cNvSpPr>
          <p:nvPr>
            <p:custDataLst>
              <p:tags r:id="rId110"/>
            </p:custDataLst>
          </p:nvPr>
        </p:nvSpPr>
        <p:spPr bwMode="gray">
          <a:xfrm>
            <a:off x="4191000" y="5470525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3D75406-732D-4AEA-9547-26A67EF7F69A}" type="datetime'''''''''''''''3'''''''''''''''''',''''00''''0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,0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5" name="Rectangle 114"/>
          <p:cNvSpPr>
            <a:spLocks noGrp="1" noChangeArrowheads="1"/>
          </p:cNvSpPr>
          <p:nvPr>
            <p:custDataLst>
              <p:tags r:id="rId111"/>
            </p:custDataLst>
          </p:nvPr>
        </p:nvSpPr>
        <p:spPr bwMode="gray">
          <a:xfrm>
            <a:off x="4916487" y="5167313"/>
            <a:ext cx="173038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01A1BB7-E995-4DA0-9E61-E3A3673351F8}" type="datetime'''''''''''''''''2''''''''5''''''''''''''''''''''''''''0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5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5" name="Rectangle 144"/>
          <p:cNvSpPr>
            <a:spLocks noGrp="1" noChangeArrowheads="1"/>
          </p:cNvSpPr>
          <p:nvPr>
            <p:custDataLst>
              <p:tags r:id="rId112"/>
            </p:custDataLst>
          </p:nvPr>
        </p:nvSpPr>
        <p:spPr bwMode="gray">
          <a:xfrm>
            <a:off x="6910388" y="4803775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CDB6F66-6EBD-4CE6-A4B3-9EE64B407EC4}" type="datetime'5'''''''''''''',4''''''''''0''''''''''''''0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,40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8" name="Rectangle 117"/>
          <p:cNvSpPr>
            <a:spLocks noGrp="1" noChangeArrowheads="1"/>
          </p:cNvSpPr>
          <p:nvPr>
            <p:custDataLst>
              <p:tags r:id="rId113"/>
            </p:custDataLst>
          </p:nvPr>
        </p:nvSpPr>
        <p:spPr bwMode="gray">
          <a:xfrm>
            <a:off x="4879975" y="5434013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0358EAB-F171-4E2E-9CA7-FFA3C055F968}" type="datetime'''''3'''''''''''',''''''''''''''''''''5''0''''''0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,5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9" name="Rectangle 118"/>
          <p:cNvSpPr>
            <a:spLocks noGrp="1" noChangeArrowheads="1"/>
          </p:cNvSpPr>
          <p:nvPr>
            <p:custDataLst>
              <p:tags r:id="rId114"/>
            </p:custDataLst>
          </p:nvPr>
        </p:nvSpPr>
        <p:spPr bwMode="auto">
          <a:xfrm>
            <a:off x="4897438" y="5767388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0B7E53A-AAEF-402F-AFFC-3BDCD3492F5A}" type="datetime'''''''''''''''''2''''0''''''''''''''''2''4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4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7" name="Rectangle 136"/>
          <p:cNvSpPr>
            <a:spLocks noGrp="1" noChangeArrowheads="1"/>
          </p:cNvSpPr>
          <p:nvPr>
            <p:custDataLst>
              <p:tags r:id="rId115"/>
            </p:custDataLst>
          </p:nvPr>
        </p:nvSpPr>
        <p:spPr bwMode="gray">
          <a:xfrm>
            <a:off x="8307388" y="4462463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7042928-50F6-49C1-9BA9-3390C16F922A}" type="datetime'''''''''''''''''''''''''''''''''''''''''5.''''''''0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3" name="Rectangle 122"/>
          <p:cNvSpPr>
            <a:spLocks noGrp="1" noChangeArrowheads="1"/>
          </p:cNvSpPr>
          <p:nvPr>
            <p:custDataLst>
              <p:tags r:id="rId116"/>
            </p:custDataLst>
          </p:nvPr>
        </p:nvSpPr>
        <p:spPr bwMode="gray">
          <a:xfrm>
            <a:off x="5567363" y="5392738"/>
            <a:ext cx="244475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EDAA08B3-3012-4B79-99F3-9A507DB9A049}" type="datetime'''4,''''''''''''''''0''''''''''''''''''''00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4,0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2" name="Rectangle 121"/>
          <p:cNvSpPr>
            <a:spLocks noGrp="1" noChangeArrowheads="1"/>
          </p:cNvSpPr>
          <p:nvPr>
            <p:custDataLst>
              <p:tags r:id="rId117"/>
            </p:custDataLst>
          </p:nvPr>
        </p:nvSpPr>
        <p:spPr bwMode="gray">
          <a:xfrm>
            <a:off x="5556250" y="5037138"/>
            <a:ext cx="268288" cy="21272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CF965E1-DF0D-4A00-BB7B-DCF4B7398900}" type="datetime'''''''''''3''''''''''''0''''0''''''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00</a:t>
            </a:fld>
            <a:r>
              <a:rPr kumimoji="0" lang="en-US" alt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/>
            </a:r>
            <a:br>
              <a:rPr kumimoji="0" lang="en-US" alt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</a:br>
            <a:r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fld id="{70823320-4517-4882-BA8E-F5422F1DB8F5}" type="datetime'''''''''7''''''''''''.''''0''''''%''''''''''''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.0%</a:t>
            </a:fld>
            <a:r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)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0" name="Rectangle 129"/>
          <p:cNvSpPr>
            <a:spLocks noGrp="1" noChangeArrowheads="1"/>
          </p:cNvSpPr>
          <p:nvPr>
            <p:custDataLst>
              <p:tags r:id="rId118"/>
            </p:custDataLst>
          </p:nvPr>
        </p:nvSpPr>
        <p:spPr bwMode="gray">
          <a:xfrm>
            <a:off x="6929438" y="4462463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866846A-3507-46B6-9CC6-64C3EC25414A}" type="datetime'''''5.''0''''''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3" name="Rectangle 112"/>
          <p:cNvSpPr>
            <a:spLocks noGrp="1" noChangeArrowheads="1"/>
          </p:cNvSpPr>
          <p:nvPr>
            <p:custDataLst>
              <p:tags r:id="rId119"/>
            </p:custDataLst>
          </p:nvPr>
        </p:nvSpPr>
        <p:spPr bwMode="gray">
          <a:xfrm>
            <a:off x="6981824" y="4941888"/>
            <a:ext cx="173038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439314A-4C89-451E-B3D2-B3564AD7E347}" type="datetime'''''''''''''''''''''''4''''''''''''''''''''''00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6" name="Rectangle 105"/>
          <p:cNvSpPr>
            <a:spLocks noGrp="1" noChangeArrowheads="1"/>
          </p:cNvSpPr>
          <p:nvPr>
            <p:custDataLst>
              <p:tags r:id="rId120"/>
            </p:custDataLst>
          </p:nvPr>
        </p:nvSpPr>
        <p:spPr bwMode="gray">
          <a:xfrm>
            <a:off x="8323263" y="5256213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8B83F5B-7C91-4746-868A-B15D87BE2347}" type="datetime'''''''''''''6'''''''''''',''''''''''''0''''''0''''''''0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,0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0" name="Rectangle 119"/>
          <p:cNvSpPr>
            <a:spLocks noGrp="1" noChangeArrowheads="1"/>
          </p:cNvSpPr>
          <p:nvPr>
            <p:custDataLst>
              <p:tags r:id="rId121"/>
            </p:custDataLst>
          </p:nvPr>
        </p:nvSpPr>
        <p:spPr bwMode="gray">
          <a:xfrm>
            <a:off x="5551488" y="4462463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2CF4FEA-074B-4B0A-A06F-294DCA19119A}" type="datetime'''''''5''.''''''''''''''''''''''''''''''0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3" name="Rectangle 142"/>
          <p:cNvSpPr>
            <a:spLocks noGrp="1" noChangeArrowheads="1"/>
          </p:cNvSpPr>
          <p:nvPr>
            <p:custDataLst>
              <p:tags r:id="rId122"/>
            </p:custDataLst>
          </p:nvPr>
        </p:nvSpPr>
        <p:spPr bwMode="gray">
          <a:xfrm>
            <a:off x="4845050" y="5030788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5F94BFD-30D8-4F77-BECE-5317CA1842EA}" type="datetime'''''''''''''''3'''''''',''''''''''''''''''''''''''''750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,75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2" name="Rectangle 131"/>
          <p:cNvSpPr>
            <a:spLocks noGrp="1" noChangeArrowheads="1"/>
          </p:cNvSpPr>
          <p:nvPr>
            <p:custDataLst>
              <p:tags r:id="rId123"/>
            </p:custDataLst>
          </p:nvPr>
        </p:nvSpPr>
        <p:spPr bwMode="gray">
          <a:xfrm>
            <a:off x="8359774" y="4791075"/>
            <a:ext cx="173038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1F746C4-0D46-46E1-8DFE-683082656E11}" type="datetime'''''''''''''''5''''''''0''''''''0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1" name="Rectangle 100"/>
          <p:cNvSpPr>
            <a:spLocks noGrp="1" noChangeArrowheads="1"/>
          </p:cNvSpPr>
          <p:nvPr>
            <p:custDataLst>
              <p:tags r:id="rId124"/>
            </p:custDataLst>
          </p:nvPr>
        </p:nvSpPr>
        <p:spPr bwMode="auto">
          <a:xfrm>
            <a:off x="8340725" y="5767388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C413854-3C73-45BA-9B4C-D3CBBC3495E8}" type="datetime'''''''''''''2''''''0''''''''''2''''''''''''''''''''''''''9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9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8" name="Rectangle 87"/>
          <p:cNvSpPr>
            <a:spLocks noGrp="1" noChangeArrowheads="1"/>
          </p:cNvSpPr>
          <p:nvPr>
            <p:custDataLst>
              <p:tags r:id="rId125"/>
            </p:custDataLst>
          </p:nvPr>
        </p:nvSpPr>
        <p:spPr bwMode="gray">
          <a:xfrm>
            <a:off x="9001125" y="4662488"/>
            <a:ext cx="268288" cy="21272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A38E099-35BA-4BAD-8F3F-617BB355DC4C}" type="datetime'''''''''''''''''''5''''5''''''''''''''''0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50</a:t>
            </a:fld>
            <a:r>
              <a:rPr kumimoji="0" lang="en-US" alt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/>
            </a:r>
            <a:br>
              <a:rPr kumimoji="0" lang="en-US" alt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</a:br>
            <a:r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fld id="{4A196657-0AAF-44C3-99CE-276E677062DA}" type="datetime'''7''''''''''''''''''''.8''''%''''''''''''''''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.8%</a:t>
            </a:fld>
            <a:r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)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96" name="Rectangle 95"/>
          <p:cNvSpPr>
            <a:spLocks noGrp="1" noChangeArrowheads="1"/>
          </p:cNvSpPr>
          <p:nvPr>
            <p:custDataLst>
              <p:tags r:id="rId126"/>
            </p:custDataLst>
          </p:nvPr>
        </p:nvSpPr>
        <p:spPr bwMode="gray">
          <a:xfrm>
            <a:off x="1762125" y="5541963"/>
            <a:ext cx="74613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7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  <a:defRPr/>
            </a:pPr>
            <a:fld id="{303A4DE1-2B23-42E8-A1B3-9C1D22B4E899}" type="datetime'''''''1'''">
              <a:rPr lang="en-US" altLang="en-US" sz="700" b="1" smtClean="0">
                <a:solidFill>
                  <a:srgbClr val="FFFFFF"/>
                </a:solidFill>
              </a:rPr>
              <a:pPr lvl="0">
                <a:lnSpc>
                  <a:spcPct val="100000"/>
                </a:lnSpc>
                <a:spcAft>
                  <a:spcPct val="0"/>
                </a:spcAft>
                <a:defRPr/>
              </a:pPr>
              <a:t>1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5" name="Rectangle 134"/>
          <p:cNvSpPr>
            <a:spLocks noGrp="1" noChangeArrowheads="1"/>
          </p:cNvSpPr>
          <p:nvPr>
            <p:custDataLst>
              <p:tags r:id="rId127"/>
            </p:custDataLst>
          </p:nvPr>
        </p:nvSpPr>
        <p:spPr bwMode="gray">
          <a:xfrm>
            <a:off x="9012238" y="5219700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E13FF50-DD54-4397-97F7-1C9EC21C962C}" type="datetime'''''''''''6,''''''5''''''''''''0''''''''''0''''''''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,5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3" name="Rectangle 132"/>
          <p:cNvSpPr>
            <a:spLocks noGrp="1" noChangeArrowheads="1"/>
          </p:cNvSpPr>
          <p:nvPr>
            <p:custDataLst>
              <p:tags r:id="rId128"/>
            </p:custDataLst>
          </p:nvPr>
        </p:nvSpPr>
        <p:spPr bwMode="gray">
          <a:xfrm>
            <a:off x="7618413" y="439102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169F7C6-81A6-4EED-8495-091A3B6CADF4}" type="datetime'''''''''6''''''''''.''''''''''''0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98" name="Rectangle 97"/>
          <p:cNvSpPr>
            <a:spLocks noGrp="1" noChangeArrowheads="1"/>
          </p:cNvSpPr>
          <p:nvPr>
            <p:custDataLst>
              <p:tags r:id="rId129"/>
            </p:custDataLst>
          </p:nvPr>
        </p:nvSpPr>
        <p:spPr bwMode="gray">
          <a:xfrm>
            <a:off x="3467100" y="5180013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CD1F93F-6585-41B9-A96B-123B3529CA94}" type="datetime'''''''''2'''''''''''''''''''''',''''''''''''6''''''5''0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65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2" name="Rectangle 141"/>
          <p:cNvSpPr>
            <a:spLocks noGrp="1" noChangeArrowheads="1"/>
          </p:cNvSpPr>
          <p:nvPr>
            <p:custDataLst>
              <p:tags r:id="rId130"/>
            </p:custDataLst>
          </p:nvPr>
        </p:nvSpPr>
        <p:spPr bwMode="gray">
          <a:xfrm>
            <a:off x="4156075" y="5105400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05D5D7B-6872-4F77-9FF9-3C893BA5A87A}" type="datetime'3'',''''''''''''2''''''''0''''''''''0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,20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4" name="Rectangle 143"/>
          <p:cNvSpPr>
            <a:spLocks noGrp="1" noChangeArrowheads="1"/>
          </p:cNvSpPr>
          <p:nvPr>
            <p:custDataLst>
              <p:tags r:id="rId131"/>
            </p:custDataLst>
          </p:nvPr>
        </p:nvSpPr>
        <p:spPr bwMode="gray">
          <a:xfrm>
            <a:off x="6221413" y="4879975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7E24A12-6F23-4755-BD0A-1B912C626354}" type="datetime'''4'''''''''''''''',''8''''''''''5''''''0''''''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,85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6" name="Rectangle 145"/>
          <p:cNvSpPr>
            <a:spLocks noGrp="1" noChangeArrowheads="1"/>
          </p:cNvSpPr>
          <p:nvPr>
            <p:custDataLst>
              <p:tags r:id="rId132"/>
            </p:custDataLst>
          </p:nvPr>
        </p:nvSpPr>
        <p:spPr bwMode="gray">
          <a:xfrm>
            <a:off x="7599363" y="4725988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6C9A2E2-0B6D-4B59-AC9D-5D736F47773C}" type="datetime'''''''5'',''''''''''''''9''''''''''5''''0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,95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 useBgFill="1">
        <p:nvSpPr>
          <p:cNvPr id="141" name="Rectangle 140"/>
          <p:cNvSpPr>
            <a:spLocks noGrp="1" noChangeArrowheads="1"/>
          </p:cNvSpPr>
          <p:nvPr>
            <p:custDataLst>
              <p:tags r:id="rId133"/>
            </p:custDataLst>
          </p:nvPr>
        </p:nvSpPr>
        <p:spPr bwMode="gray">
          <a:xfrm>
            <a:off x="8102600" y="4646613"/>
            <a:ext cx="315913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BA5F79D-C82E-4F0A-9E60-2BE30C034828}" type="datetime'''''''''''''''''6'''''',''''''5''''''''''''0''''''0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,50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7" name="Rectangle 146"/>
          <p:cNvSpPr>
            <a:spLocks noGrp="1" noChangeArrowheads="1"/>
          </p:cNvSpPr>
          <p:nvPr>
            <p:custDataLst>
              <p:tags r:id="rId134"/>
            </p:custDataLst>
          </p:nvPr>
        </p:nvSpPr>
        <p:spPr bwMode="gray">
          <a:xfrm>
            <a:off x="8977313" y="4254500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9ABD8A3-6C09-49FB-80DF-8168CF8BD26E}" type="datetime'''''''7'',''''0''''''''''''''''''''''''5''''''''''''0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,050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8" name="Rectangle 137"/>
          <p:cNvSpPr>
            <a:spLocks noGrp="1" noChangeArrowheads="1"/>
          </p:cNvSpPr>
          <p:nvPr>
            <p:custDataLst>
              <p:tags r:id="rId135"/>
            </p:custDataLst>
          </p:nvPr>
        </p:nvSpPr>
        <p:spPr bwMode="auto">
          <a:xfrm>
            <a:off x="9029700" y="5767388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6720B31-F721-48E1-BF77-5F463699189B}" type="datetime'''20''''''''''''''''''''''''''3''''''''''''''0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3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8" name="Rectangle 147"/>
          <p:cNvSpPr/>
          <p:nvPr>
            <p:custDataLst>
              <p:tags r:id="rId136"/>
            </p:custDataLst>
          </p:nvPr>
        </p:nvSpPr>
        <p:spPr bwMode="auto">
          <a:xfrm>
            <a:off x="458788" y="5129213"/>
            <a:ext cx="125413" cy="93663"/>
          </a:xfrm>
          <a:prstGeom prst="rect">
            <a:avLst/>
          </a:prstGeom>
          <a:solidFill>
            <a:srgbClr val="007770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149" name="Straight Connector 148"/>
          <p:cNvCxnSpPr/>
          <p:nvPr>
            <p:custDataLst>
              <p:tags r:id="rId137"/>
            </p:custDataLst>
          </p:nvPr>
        </p:nvCxnSpPr>
        <p:spPr bwMode="auto">
          <a:xfrm>
            <a:off x="460375" y="5018088"/>
            <a:ext cx="8572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0" name="Rectangle 149"/>
          <p:cNvSpPr/>
          <p:nvPr>
            <p:custDataLst>
              <p:tags r:id="rId138"/>
            </p:custDataLst>
          </p:nvPr>
        </p:nvSpPr>
        <p:spPr bwMode="auto">
          <a:xfrm>
            <a:off x="458788" y="5286375"/>
            <a:ext cx="125413" cy="93663"/>
          </a:xfrm>
          <a:prstGeom prst="rect">
            <a:avLst/>
          </a:prstGeom>
          <a:solidFill>
            <a:srgbClr val="C0D9E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1" name="Oval 150"/>
          <p:cNvSpPr/>
          <p:nvPr>
            <p:custDataLst>
              <p:tags r:id="rId139"/>
            </p:custDataLst>
          </p:nvPr>
        </p:nvSpPr>
        <p:spPr bwMode="auto">
          <a:xfrm>
            <a:off x="490538" y="5005388"/>
            <a:ext cx="25400" cy="254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3" name="Rectangle 152"/>
          <p:cNvSpPr>
            <a:spLocks noGrp="1" noChangeArrowheads="1"/>
          </p:cNvSpPr>
          <p:nvPr>
            <p:custDataLst>
              <p:tags r:id="rId140"/>
            </p:custDataLst>
          </p:nvPr>
        </p:nvSpPr>
        <p:spPr bwMode="auto">
          <a:xfrm>
            <a:off x="635000" y="4968875"/>
            <a:ext cx="417513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</a:pPr>
            <a:fld id="{B8F43A4E-84C7-43FC-AD9A-347568165216}" type="datetime'''P''''''''r''''''em''.M''''''''''''S''%'''''''''''''''''">
              <a:rPr lang="en-US" altLang="en-US" sz="700" b="1" smtClean="0">
                <a:solidFill>
                  <a:srgbClr val="000000"/>
                </a:solidFill>
              </a:rPr>
              <a:pPr lvl="0">
                <a:lnSpc>
                  <a:spcPct val="100000"/>
                </a:lnSpc>
                <a:spcAft>
                  <a:spcPct val="0"/>
                </a:spcAft>
              </a:pPr>
              <a:t>Prem.MS%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54" name="Rectangle 153"/>
          <p:cNvSpPr>
            <a:spLocks noGrp="1" noChangeArrowheads="1"/>
          </p:cNvSpPr>
          <p:nvPr>
            <p:custDataLst>
              <p:tags r:id="rId141"/>
            </p:custDataLst>
          </p:nvPr>
        </p:nvSpPr>
        <p:spPr bwMode="auto">
          <a:xfrm>
            <a:off x="635000" y="5126038"/>
            <a:ext cx="163513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  <a:defRPr/>
            </a:pPr>
            <a:fld id="{C34F8647-8893-4010-8EF2-3D2EA9D20B7F}" type="datetime'''''''''''''''''''''''''''''''''''''N''''E''''''''V'''''''''''">
              <a:rPr lang="en-US" altLang="en-US" sz="700" b="1" smtClean="0">
                <a:solidFill>
                  <a:srgbClr val="000000"/>
                </a:solidFill>
              </a:rPr>
              <a:pPr lvl="0">
                <a:lnSpc>
                  <a:spcPct val="100000"/>
                </a:lnSpc>
                <a:spcAft>
                  <a:spcPct val="0"/>
                </a:spcAft>
                <a:defRPr/>
              </a:pPr>
              <a:t>NEV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52" name="Rectangle 151"/>
          <p:cNvSpPr>
            <a:spLocks noGrp="1" noChangeArrowheads="1"/>
          </p:cNvSpPr>
          <p:nvPr>
            <p:custDataLst>
              <p:tags r:id="rId142"/>
            </p:custDataLst>
          </p:nvPr>
        </p:nvSpPr>
        <p:spPr bwMode="auto">
          <a:xfrm>
            <a:off x="635000" y="5283200"/>
            <a:ext cx="12223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  <a:defRPr/>
            </a:pPr>
            <a:fld id="{583AFD06-AE18-462F-9F3C-19A483CCBB18}" type="datetime'''''''''''''''''''''''''''''''''''''''IC''E'''''">
              <a:rPr lang="en-US" altLang="en-US" sz="700" b="1" smtClean="0">
                <a:solidFill>
                  <a:srgbClr val="000000"/>
                </a:solidFill>
              </a:rPr>
              <a:pPr lvl="0">
                <a:lnSpc>
                  <a:spcPct val="100000"/>
                </a:lnSpc>
                <a:spcAft>
                  <a:spcPct val="0"/>
                </a:spcAft>
                <a:defRPr/>
              </a:pPr>
              <a:t>ICE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graphicFrame>
        <p:nvGraphicFramePr>
          <p:cNvPr id="155" name="Table 1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3561597"/>
              </p:ext>
            </p:extLst>
          </p:nvPr>
        </p:nvGraphicFramePr>
        <p:xfrm>
          <a:off x="289112" y="5738813"/>
          <a:ext cx="9207315" cy="38826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9787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7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717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571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571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571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571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571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571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571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571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571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571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174873">
                <a:tc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T="9525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19A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3395">
                <a:tc>
                  <a:txBody>
                    <a:bodyPr/>
                    <a:lstStyle/>
                    <a:p>
                      <a:pPr algn="l"/>
                      <a:r>
                        <a:rPr lang="en-US" sz="8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EV Penetration</a:t>
                      </a:r>
                      <a:endParaRPr lang="en-US" sz="8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0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0.2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0.3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0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0.2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0.3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0.1%</a:t>
                      </a:r>
                    </a:p>
                  </a:txBody>
                  <a:tcPr marL="9525" marR="9525" marT="9525" marB="0" anchor="ctr"/>
                </a:tc>
                <a:tc gridSpan="5"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68" name="Rectangle 167"/>
          <p:cNvSpPr/>
          <p:nvPr/>
        </p:nvSpPr>
        <p:spPr>
          <a:xfrm>
            <a:off x="358358" y="1522586"/>
            <a:ext cx="8963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u="sng" dirty="0">
                <a:latin typeface="+mj-lt"/>
              </a:rPr>
              <a:t>VW+ Jetta </a:t>
            </a:r>
          </a:p>
        </p:txBody>
      </p:sp>
      <p:sp>
        <p:nvSpPr>
          <p:cNvPr id="169" name="Rectangle 168"/>
          <p:cNvSpPr/>
          <p:nvPr/>
        </p:nvSpPr>
        <p:spPr>
          <a:xfrm>
            <a:off x="358358" y="4372466"/>
            <a:ext cx="84670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u="sng" dirty="0" smtClean="0">
                <a:latin typeface="+mj-lt"/>
              </a:rPr>
              <a:t>Audi CKD </a:t>
            </a:r>
            <a:endParaRPr lang="en-US" sz="1200" b="1" u="sng" dirty="0">
              <a:latin typeface="+mj-lt"/>
            </a:endParaRPr>
          </a:p>
        </p:txBody>
      </p:sp>
      <p:sp>
        <p:nvSpPr>
          <p:cNvPr id="189" name="Freeform 31"/>
          <p:cNvSpPr>
            <a:spLocks/>
          </p:cNvSpPr>
          <p:nvPr/>
        </p:nvSpPr>
        <p:spPr bwMode="gray">
          <a:xfrm>
            <a:off x="5411787" y="2202180"/>
            <a:ext cx="608013" cy="339011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93" name="Freeform 31"/>
          <p:cNvSpPr>
            <a:spLocks/>
          </p:cNvSpPr>
          <p:nvPr/>
        </p:nvSpPr>
        <p:spPr bwMode="gray">
          <a:xfrm>
            <a:off x="5419407" y="5021580"/>
            <a:ext cx="608013" cy="339011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014663"/>
              </p:ext>
            </p:extLst>
          </p:nvPr>
        </p:nvGraphicFramePr>
        <p:xfrm>
          <a:off x="322730" y="3792352"/>
          <a:ext cx="5793338" cy="3657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993081">
                  <a:extLst>
                    <a:ext uri="{9D8B030D-6E8A-4147-A177-3AD203B41FA5}">
                      <a16:colId xmlns:a16="http://schemas.microsoft.com/office/drawing/2014/main" val="267734708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1709768997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1113970197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381033663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3002853552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1459502138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49709324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538184819"/>
                    </a:ext>
                  </a:extLst>
                </a:gridCol>
              </a:tblGrid>
              <a:tr h="179057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j-lt"/>
                          <a:sym typeface="VWAG TheSans" panose="020B0502050302020203" pitchFamily="34" charset="0"/>
                        </a:rPr>
                        <a:t>NEV MKT Penetration</a:t>
                      </a:r>
                      <a:endParaRPr lang="en-US" sz="900" b="1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j-lt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j-lt"/>
                          <a:sym typeface="VWAG TheSans" panose="020B0502050302020203" pitchFamily="34" charset="0"/>
                        </a:rPr>
                        <a:t>5.0%</a:t>
                      </a:r>
                      <a:endParaRPr lang="en-US" sz="900" b="0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sym typeface="VWAG TheSans" panose="020B0502050302020203" pitchFamily="34" charset="0"/>
                      </a:endParaRPr>
                    </a:p>
                  </a:txBody>
                  <a:tcPr marL="9525" marR="9525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5.5%</a:t>
                      </a:r>
                    </a:p>
                  </a:txBody>
                  <a:tcPr marL="0" marR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6.0%</a:t>
                      </a:r>
                      <a:endParaRPr lang="en-US" sz="9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6.5%</a:t>
                      </a:r>
                      <a:endParaRPr lang="en-US" sz="9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7.0%</a:t>
                      </a:r>
                      <a:endParaRPr lang="en-US" sz="9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7.5%</a:t>
                      </a:r>
                      <a:endParaRPr lang="en-US" sz="9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8.0%</a:t>
                      </a:r>
                      <a:endParaRPr lang="en-US" sz="9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594644"/>
                  </a:ext>
                </a:extLst>
              </a:tr>
            </a:tbl>
          </a:graphicData>
        </a:graphic>
      </p:graphicFrame>
      <p:sp>
        <p:nvSpPr>
          <p:cNvPr id="177" name="TextBox 176"/>
          <p:cNvSpPr txBox="1"/>
          <p:nvPr/>
        </p:nvSpPr>
        <p:spPr>
          <a:xfrm>
            <a:off x="408798" y="6435766"/>
            <a:ext cx="1563125" cy="1095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92479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082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0921" name="think-cell Slide" r:id="rId47" imgW="470" imgH="469" progId="TCLayout.ActiveDocument.1">
                  <p:embed/>
                </p:oleObj>
              </mc:Choice>
              <mc:Fallback>
                <p:oleObj name="think-cell Slide" r:id="rId47" imgW="470" imgH="469" progId="TCLayout.ActiveDocument.1">
                  <p:embed/>
                  <p:pic>
                    <p:nvPicPr>
                      <p:cNvPr id="33" name="Object 32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  <a:defRPr/>
            </a:pPr>
            <a:endParaRPr kumimoji="0" lang="en-US" sz="1000" b="1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3366"/>
                </a:solidFill>
              </a:rPr>
              <a:t>FAW-VW </a:t>
            </a:r>
            <a:r>
              <a:rPr lang="de-DE" dirty="0" smtClean="0">
                <a:solidFill>
                  <a:srgbClr val="003366"/>
                </a:solidFill>
              </a:rPr>
              <a:t>NEV </a:t>
            </a:r>
            <a:r>
              <a:rPr lang="en-US" dirty="0" smtClean="0"/>
              <a:t>PR69.</a:t>
            </a:r>
            <a:r>
              <a:rPr lang="en-US" altLang="zh-CN" dirty="0" smtClean="0"/>
              <a:t>O</a:t>
            </a:r>
            <a:r>
              <a:rPr lang="en-US" dirty="0" smtClean="0"/>
              <a:t>P </a:t>
            </a:r>
            <a:r>
              <a:rPr lang="en-US" dirty="0"/>
              <a:t>Volume Planning 2020-20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graphicFrame>
        <p:nvGraphicFramePr>
          <p:cNvPr id="93" name="Chart 92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2499505"/>
              </p:ext>
            </p:extLst>
          </p:nvPr>
        </p:nvGraphicFramePr>
        <p:xfrm>
          <a:off x="1125538" y="2493963"/>
          <a:ext cx="8453437" cy="2857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39" name="Rectangle 38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090738" y="3187700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DAB9C7A-74BF-42A5-ACC0-088B5B1EFFA0}" type="datetime'''''''''0.''''''''''''''''''''''''''''2''''''''''''''%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0.2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400175" y="322103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790DEFA-0538-466A-B465-E2568D6C5239}" type="datetime'0.''''''''''''1''''''''''''''''%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1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6265863" y="45291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8FCCC4D-52CC-442C-9CA6-B4CB5DD30E2E}" type="datetime'''2''''''''''''4''''''''''''''''0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4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7616825" y="320357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9B054CE-4421-4684-81D9-2ACC3EC98959}" type="datetime'0''''''''''.''''''2''%''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2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781300" y="322103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6B87E62-E0C0-41EA-B503-69EF8821A33B}" type="datetime'''''''''''''''''''''''0''.1''''''''''''''''''''''''''%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1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406525" y="531177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DC555D-75C8-4075-B3A7-F155604256C4}" type="datetime'''''''''''''''''''''''''''''''''''2''019''''''''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VWAG TheSans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2787650" y="531177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7792743-77A7-486E-A8C5-94B87944C873}" type="datetime'2''''''0''''''''''''''''''''''2''''''1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1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VWAG TheSans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2097088" y="531177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4972B52-CA4A-4771-8A8E-3170475E3563}" type="datetime'''2''''''''''''''''''''''''''''''0''''''''''2''0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0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VWAG TheSans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3471863" y="320357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205C2AC-E2F9-4A89-8552-A1E7707EB6A0}" type="datetime'''''''''''0''''''''''''''''.''''2''''''%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2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3478213" y="531177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6904E4-2E7D-42C3-96F3-22A0B69887BF}" type="datetime'''''''''''''''''''''''''''''''20''2''''''''2''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2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VWAG TheSans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4162425" y="322103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54B18A0-C106-452D-AC48-D3977746EB23}" type="datetime'''''''''''0''.''''''''''1''''''%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1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4168775" y="531177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8C146DF-0F40-456D-BC80-3A28707C0258}" type="datetime'''''''''2''''''''''''''''0''''''''2''''''''''''''3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3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VWAG TheSans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4854575" y="320357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FEAE9F9-E9E4-45A3-8CE4-2B16C81CE864}" type="datetime'''''''''''''0''.2''''''''''%''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2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9004300" y="531177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77E817D-8C93-4FBA-ACE4-7EF979B8B551}" type="datetime'''''''''''''''''2''''''0''''''3''''''0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VWAG TheSans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8307388" y="322103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7ED5D9E-BB98-450E-BEEC-56BDF38E7937}" type="datetime'''''0.''''''''''''1''''''''''%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1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4859338" y="531177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923BA03-0CC9-44E0-A944-C394AB7620B7}" type="datetime'''''2''''''''''''''''''0''''''''2''''4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VWAG TheSans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5545138" y="322103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BF11354-8AFE-4DD9-AE86-4207DEC50D49}" type="datetime'''''0''.''''''''''''''1''''''''''''''''''''''''''''''''''%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1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7646988" y="45291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956B00C-22C9-4DCE-8D24-A184033B3D9C}" type="datetime'''''''''''''2''''''4''''''''''''0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4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6932613" y="531177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0DA44C2-1E8C-4C31-98EB-6F7A6F997253}" type="datetime'20''''''''''''''''''''''''''''2''''''''''''''''''''7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7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VWAG TheSans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6235700" y="320357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D42441A-B3D0-4289-B354-12289B52FA67}" type="datetime'''''''''''''''0''''''''''''''.''''''''2%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2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6242050" y="531177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A753E98-D0D7-4DDD-9DBB-B6956B0B7AC3}" type="datetime'''''''''''''''''''2''''''02''''''''''6''''''''''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VWAG TheSans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6926263" y="322103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84BDAE3-496D-4060-B6EF-B32152CA1C4F}" type="datetime'''''''''''0''''''''.''1''''''''''''%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1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3502025" y="46704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399D650-B68A-430E-A3BF-C4DD9FEA0111}" type="datetime'''''''''''''''''''''1''''8''''''0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8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7623175" y="531177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CEEE84-0EED-46DF-9ECC-E2A2CA44AD1D}" type="datetime'2''''''''''''''''''''''''''0''2''''''''''''''''''8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8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VWAG TheSans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8313738" y="531177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E9C2172-B609-48DC-8E92-EBD21802F01A}" type="datetime'2''''''''''''''''0''''''''''''''''''''''2''''''9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VWAG TheSans"/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4883150" y="45291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0669BFA-18CC-4383-B933-9E9D1D370454}" type="datetime'''''''''''''''2''''''''''''4''0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4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8997950" y="3187700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BFEC7C9-DD41-48BD-8F2A-3FF943595BB9}" type="datetime'''''0''''''''''''''''''.''''''''''''''''''''''2''%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0.2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6956425" y="45291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265A9E7-EA46-4DDB-94CB-1A4AA0A34C67}" type="datetime'''''''2''''''''''4''''''''''''''''''0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4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1500188" y="50863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197F0F4-DDA0-4CC5-A16C-30AC97E700F8}" type="datetime'''''2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2155825" y="4935538"/>
            <a:ext cx="1746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41265DF-06D9-4A80-8211-D8EE013E75AC}" type="datetime'''''''''''''''''''''''6''''''''''''''0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6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2811463" y="48101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2599283-0B3E-453F-9DAE-2BBF16E0BD86}" type="datetime'''''''''''''''''''1''2''''''''''''''''''0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2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4192588" y="45291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92A09C1-4816-4760-B123-C420918B4A48}" type="datetime'2''4''''''''''''''''''''''''''''0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4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5575300" y="45291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D92B010-80F6-4DE3-9811-0CE5D1B1B9B8}" type="datetime'''''''''''''''''''''''''''2''''4''''''''''''''0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4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8337550" y="4513263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06FDED8C-7A28-46BB-8C54-9AF392A69178}" type="datetime'''''''''''''''''''''''''''''''''2''''''''''''''''''''''''4''0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4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9028113" y="4513263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51CCB7B-2816-4711-926F-390D04726228}" type="datetime'''''''''''''''''''''''2''''''''''''4''''''''''''0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4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5551488" y="531177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21C013D-A6F6-4E76-BBE0-9E3FAC926FFF}" type="datetime'2''''''''''''''''0''''''''25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VWAG TheSans"/>
            </a:endParaRPr>
          </a:p>
        </p:txBody>
      </p:sp>
      <p:cxnSp>
        <p:nvCxnSpPr>
          <p:cNvPr id="75" name="Straight Connector 74"/>
          <p:cNvCxnSpPr/>
          <p:nvPr>
            <p:custDataLst>
              <p:tags r:id="rId41"/>
            </p:custDataLst>
          </p:nvPr>
        </p:nvCxnSpPr>
        <p:spPr bwMode="auto">
          <a:xfrm>
            <a:off x="512763" y="3602038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6" name="Rectangle 75"/>
          <p:cNvSpPr/>
          <p:nvPr>
            <p:custDataLst>
              <p:tags r:id="rId42"/>
            </p:custDataLst>
          </p:nvPr>
        </p:nvSpPr>
        <p:spPr bwMode="auto">
          <a:xfrm>
            <a:off x="542925" y="3722688"/>
            <a:ext cx="142875" cy="106363"/>
          </a:xfrm>
          <a:prstGeom prst="rect">
            <a:avLst/>
          </a:prstGeom>
          <a:solidFill>
            <a:srgbClr val="007770"/>
          </a:solidFill>
          <a:ln w="3175" cap="flat" cmpd="sng" algn="ctr">
            <a:solidFill>
              <a:srgbClr val="026F4E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7" name="Oval 76"/>
          <p:cNvSpPr/>
          <p:nvPr>
            <p:custDataLst>
              <p:tags r:id="rId43"/>
            </p:custDataLst>
          </p:nvPr>
        </p:nvSpPr>
        <p:spPr bwMode="auto">
          <a:xfrm>
            <a:off x="558800" y="3576638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736600" y="3544888"/>
            <a:ext cx="4286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26833CC-24F0-4E2A-86F8-F52BCDE66F3F}" type="datetime'N''''''E''''''''''''V'' ''''''''''''''''''''M''''''''''S%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l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NEV MS%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VWAG TheSans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736600" y="3717925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VWAG TheSans"/>
              </a:rPr>
              <a:t>NEV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VWAG TheSans"/>
            </a:endParaRPr>
          </a:p>
        </p:txBody>
      </p:sp>
      <p:graphicFrame>
        <p:nvGraphicFramePr>
          <p:cNvPr id="82" name="Table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5634279"/>
              </p:ext>
            </p:extLst>
          </p:nvPr>
        </p:nvGraphicFramePr>
        <p:xfrm>
          <a:off x="418223" y="5330887"/>
          <a:ext cx="9112675" cy="9144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827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7361">
                  <a:extLst>
                    <a:ext uri="{9D8B030D-6E8A-4147-A177-3AD203B41FA5}">
                      <a16:colId xmlns:a16="http://schemas.microsoft.com/office/drawing/2014/main" val="2599429167"/>
                    </a:ext>
                  </a:extLst>
                </a:gridCol>
                <a:gridCol w="657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baseline="0" dirty="0" smtClean="0">
                          <a:effectLst/>
                          <a:latin typeface="+mj-lt"/>
                        </a:rPr>
                        <a:t> Vol. by </a:t>
                      </a:r>
                      <a:r>
                        <a:rPr lang="en-US" altLang="zh-CN" sz="900" u="none" strike="noStrike" baseline="0" dirty="0" smtClean="0">
                          <a:effectLst/>
                          <a:latin typeface="+mj-lt"/>
                        </a:rPr>
                        <a:t>Typ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19A</a:t>
                      </a:r>
                      <a:endParaRPr lang="en-US" sz="900" b="1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29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QB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306713"/>
                  </a:ext>
                </a:extLst>
              </a:tr>
              <a:tr h="17929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latin typeface="+mj-lt"/>
                        </a:rPr>
                        <a:t>MLB</a:t>
                      </a:r>
                      <a:endParaRPr lang="en-US" sz="900" b="1" kern="120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28088"/>
                  </a:ext>
                </a:extLst>
              </a:tr>
              <a:tr h="17929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>
                          <a:latin typeface="+mj-lt"/>
                        </a:rPr>
                        <a:t>MEB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5" name="TextBox 84"/>
          <p:cNvSpPr txBox="1"/>
          <p:nvPr/>
        </p:nvSpPr>
        <p:spPr>
          <a:xfrm>
            <a:off x="377825" y="3063876"/>
            <a:ext cx="655638" cy="3143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sp>
        <p:nvSpPr>
          <p:cNvPr id="81" name="Rectangle 80"/>
          <p:cNvSpPr/>
          <p:nvPr/>
        </p:nvSpPr>
        <p:spPr bwMode="auto">
          <a:xfrm>
            <a:off x="2204288" y="2244634"/>
            <a:ext cx="152519" cy="14922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1</a:t>
            </a:r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408798" y="6435766"/>
            <a:ext cx="1563125" cy="1095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Remark: Year 2020 FC5+7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408798" y="1520885"/>
            <a:ext cx="9119467" cy="292675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228600" lvl="0" indent="-228600">
              <a:spcBef>
                <a:spcPts val="540"/>
              </a:spcBef>
              <a:buFont typeface="+mj-lt"/>
              <a:buAutoNum type="arabicParenR"/>
              <a:defRPr/>
            </a:pP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 smtClean="0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2371122" y="2341416"/>
            <a:ext cx="398334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TextBox 8"/>
          <p:cNvSpPr txBox="1"/>
          <p:nvPr/>
        </p:nvSpPr>
        <p:spPr>
          <a:xfrm>
            <a:off x="821574" y="2198024"/>
            <a:ext cx="1350126" cy="33251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900" dirty="0" smtClean="0">
                <a:latin typeface="+mn-lt"/>
              </a:rPr>
              <a:t>Reference</a:t>
            </a:r>
            <a:r>
              <a:rPr lang="en-US" sz="900" dirty="0" smtClean="0"/>
              <a:t> </a:t>
            </a:r>
            <a:r>
              <a:rPr lang="en-US" sz="900" dirty="0" smtClean="0">
                <a:latin typeface="+mn-lt"/>
              </a:rPr>
              <a:t>market share of FAW-VW: 1%</a:t>
            </a:r>
          </a:p>
        </p:txBody>
      </p:sp>
    </p:spTree>
    <p:extLst>
      <p:ext uri="{BB962C8B-B14F-4D97-AF65-F5344CB8AC3E}">
        <p14:creationId xmlns:p14="http://schemas.microsoft.com/office/powerpoint/2010/main" val="3669336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94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W-VW Volume PR69.OP vs. PR69.S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6730287"/>
              </p:ext>
            </p:extLst>
          </p:nvPr>
        </p:nvGraphicFramePr>
        <p:xfrm>
          <a:off x="419114" y="5276688"/>
          <a:ext cx="8302752" cy="1143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30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188650236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% Change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 smtClean="0">
                          <a:effectLst/>
                        </a:rPr>
                        <a:t>2030E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j-lt"/>
                        </a:rPr>
                        <a:t>Volkswagen Brand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j-lt"/>
                        </a:rPr>
                        <a:t>Audi</a:t>
                      </a:r>
                      <a:r>
                        <a:rPr lang="en-US" sz="900" b="1" baseline="0" dirty="0" smtClean="0">
                          <a:latin typeface="+mj-lt"/>
                        </a:rPr>
                        <a:t> Brand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j-lt"/>
                        </a:rPr>
                        <a:t>Jetta</a:t>
                      </a:r>
                      <a:r>
                        <a:rPr lang="en-US" sz="900" b="1" baseline="0" dirty="0" smtClean="0">
                          <a:latin typeface="+mj-lt"/>
                        </a:rPr>
                        <a:t> </a:t>
                      </a:r>
                      <a:r>
                        <a:rPr lang="en-US" sz="900" b="1" dirty="0" smtClean="0">
                          <a:latin typeface="+mj-lt"/>
                        </a:rPr>
                        <a:t>Brand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AW-VW  Total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3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3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3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3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3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3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3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3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3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3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3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2480136237"/>
              </p:ext>
            </p:extLst>
          </p:nvPr>
        </p:nvGraphicFramePr>
        <p:xfrm>
          <a:off x="1711354" y="2070970"/>
          <a:ext cx="7084304" cy="3166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76958" y="2440134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25126" y="2679975"/>
            <a:ext cx="3048000" cy="988866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1828800" marR="0" lvl="4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5525126" y="2681561"/>
            <a:ext cx="152519" cy="14922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1</a:t>
            </a:r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08798" y="1520885"/>
            <a:ext cx="9119467" cy="445075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54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vs. PR69.SP, Comments</a:t>
            </a:r>
          </a:p>
          <a:p>
            <a:pPr marL="685800" lvl="1" indent="-228600">
              <a:spcBef>
                <a:spcPts val="54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VW Brand: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08798" y="6435766"/>
            <a:ext cx="1563125" cy="1095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39687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323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0136" name="think-cell Slide" r:id="rId33" imgW="470" imgH="469" progId="TCLayout.ActiveDocument.1">
                  <p:embed/>
                </p:oleObj>
              </mc:Choice>
              <mc:Fallback>
                <p:oleObj name="think-cell Slide" r:id="rId33" imgW="470" imgH="469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  <a:defRPr/>
            </a:pPr>
            <a:endParaRPr kumimoji="0" lang="en-US" sz="1000" b="1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W-VW PR69.OP vs. PR69.SP</a:t>
            </a:r>
            <a:r>
              <a:rPr lang="en-US" dirty="0" smtClean="0">
                <a:sym typeface="VWAG TheSans"/>
              </a:rPr>
              <a:t> </a:t>
            </a:r>
            <a:r>
              <a:rPr lang="en-US" dirty="0">
                <a:sym typeface="VWAG TheSans"/>
              </a:rPr>
              <a:t>- Acc. </a:t>
            </a:r>
            <a:r>
              <a:rPr lang="en-US" dirty="0" smtClean="0">
                <a:sym typeface="VWAG TheSans"/>
              </a:rPr>
              <a:t>Volumes (2020-2030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cxnSp>
        <p:nvCxnSpPr>
          <p:cNvPr id="9" name="Straight Connector 8"/>
          <p:cNvCxnSpPr/>
          <p:nvPr>
            <p:custDataLst>
              <p:tags r:id="rId4"/>
            </p:custDataLst>
          </p:nvPr>
        </p:nvCxnSpPr>
        <p:spPr bwMode="auto">
          <a:xfrm>
            <a:off x="3001963" y="2605088"/>
            <a:ext cx="6524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5"/>
            </p:custDataLst>
          </p:nvPr>
        </p:nvCxnSpPr>
        <p:spPr bwMode="auto">
          <a:xfrm>
            <a:off x="5938839" y="3249613"/>
            <a:ext cx="65087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6"/>
            </p:custDataLst>
          </p:nvPr>
        </p:nvCxnSpPr>
        <p:spPr bwMode="auto">
          <a:xfrm>
            <a:off x="7405688" y="3297238"/>
            <a:ext cx="6524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/>
          <p:cNvCxnSpPr/>
          <p:nvPr>
            <p:custDataLst>
              <p:tags r:id="rId7"/>
            </p:custDataLst>
          </p:nvPr>
        </p:nvCxnSpPr>
        <p:spPr bwMode="auto">
          <a:xfrm>
            <a:off x="1533526" y="2416175"/>
            <a:ext cx="6524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8"/>
            </p:custDataLst>
          </p:nvPr>
        </p:nvCxnSpPr>
        <p:spPr bwMode="auto">
          <a:xfrm>
            <a:off x="4470400" y="2586038"/>
            <a:ext cx="6524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54" name="Chart 5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80773295"/>
              </p:ext>
            </p:extLst>
          </p:nvPr>
        </p:nvGraphicFramePr>
        <p:xfrm>
          <a:off x="309563" y="2333625"/>
          <a:ext cx="8974137" cy="2614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 useBgFill="1">
        <p:nvSpPr>
          <p:cNvPr id="12" name="Freeform 11"/>
          <p:cNvSpPr/>
          <p:nvPr>
            <p:custDataLst>
              <p:tags r:id="rId10"/>
            </p:custDataLst>
          </p:nvPr>
        </p:nvSpPr>
        <p:spPr bwMode="auto">
          <a:xfrm>
            <a:off x="671513" y="3930650"/>
            <a:ext cx="908051" cy="301626"/>
          </a:xfrm>
          <a:custGeom>
            <a:avLst/>
            <a:gdLst/>
            <a:ahLst/>
            <a:cxnLst/>
            <a:rect l="0" t="0" r="0" b="0"/>
            <a:pathLst>
              <a:path w="908051" h="301626">
                <a:moveTo>
                  <a:pt x="0" y="244475"/>
                </a:moveTo>
                <a:lnTo>
                  <a:pt x="908050" y="0"/>
                </a:lnTo>
                <a:lnTo>
                  <a:pt x="908050" y="57150"/>
                </a:lnTo>
                <a:lnTo>
                  <a:pt x="0" y="30162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15" name="Freeform 14"/>
          <p:cNvSpPr/>
          <p:nvPr>
            <p:custDataLst>
              <p:tags r:id="rId11"/>
            </p:custDataLst>
          </p:nvPr>
        </p:nvSpPr>
        <p:spPr bwMode="auto">
          <a:xfrm>
            <a:off x="8012113" y="3930650"/>
            <a:ext cx="908051" cy="301626"/>
          </a:xfrm>
          <a:custGeom>
            <a:avLst/>
            <a:gdLst/>
            <a:ahLst/>
            <a:cxnLst/>
            <a:rect l="0" t="0" r="0" b="0"/>
            <a:pathLst>
              <a:path w="908051" h="301626">
                <a:moveTo>
                  <a:pt x="0" y="244475"/>
                </a:moveTo>
                <a:lnTo>
                  <a:pt x="908050" y="0"/>
                </a:lnTo>
                <a:lnTo>
                  <a:pt x="908050" y="57150"/>
                </a:lnTo>
                <a:lnTo>
                  <a:pt x="0" y="30162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Freeform 10"/>
          <p:cNvSpPr/>
          <p:nvPr>
            <p:custDataLst>
              <p:tags r:id="rId12"/>
            </p:custDataLst>
          </p:nvPr>
        </p:nvSpPr>
        <p:spPr bwMode="auto">
          <a:xfrm>
            <a:off x="671513" y="3987800"/>
            <a:ext cx="908051" cy="244476"/>
          </a:xfrm>
          <a:custGeom>
            <a:avLst/>
            <a:gdLst/>
            <a:ahLst/>
            <a:cxnLst/>
            <a:rect l="0" t="0" r="0" b="0"/>
            <a:pathLst>
              <a:path w="908051" h="244476">
                <a:moveTo>
                  <a:pt x="0" y="244475"/>
                </a:moveTo>
                <a:lnTo>
                  <a:pt x="908050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Freeform 2"/>
          <p:cNvSpPr/>
          <p:nvPr>
            <p:custDataLst>
              <p:tags r:id="rId13"/>
            </p:custDataLst>
          </p:nvPr>
        </p:nvSpPr>
        <p:spPr bwMode="auto">
          <a:xfrm>
            <a:off x="671513" y="3930650"/>
            <a:ext cx="908051" cy="244476"/>
          </a:xfrm>
          <a:custGeom>
            <a:avLst/>
            <a:gdLst/>
            <a:ahLst/>
            <a:cxnLst/>
            <a:rect l="0" t="0" r="0" b="0"/>
            <a:pathLst>
              <a:path w="908051" h="244476">
                <a:moveTo>
                  <a:pt x="0" y="244475"/>
                </a:moveTo>
                <a:lnTo>
                  <a:pt x="908050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Freeform 12"/>
          <p:cNvSpPr/>
          <p:nvPr>
            <p:custDataLst>
              <p:tags r:id="rId14"/>
            </p:custDataLst>
          </p:nvPr>
        </p:nvSpPr>
        <p:spPr bwMode="auto">
          <a:xfrm>
            <a:off x="8012113" y="3930650"/>
            <a:ext cx="908051" cy="244476"/>
          </a:xfrm>
          <a:custGeom>
            <a:avLst/>
            <a:gdLst/>
            <a:ahLst/>
            <a:cxnLst/>
            <a:rect l="0" t="0" r="0" b="0"/>
            <a:pathLst>
              <a:path w="908051" h="244476">
                <a:moveTo>
                  <a:pt x="0" y="244475"/>
                </a:moveTo>
                <a:lnTo>
                  <a:pt x="908050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Freeform 13"/>
          <p:cNvSpPr/>
          <p:nvPr>
            <p:custDataLst>
              <p:tags r:id="rId15"/>
            </p:custDataLst>
          </p:nvPr>
        </p:nvSpPr>
        <p:spPr bwMode="auto">
          <a:xfrm>
            <a:off x="8012113" y="3987800"/>
            <a:ext cx="908051" cy="244476"/>
          </a:xfrm>
          <a:custGeom>
            <a:avLst/>
            <a:gdLst/>
            <a:ahLst/>
            <a:cxnLst/>
            <a:rect l="0" t="0" r="0" b="0"/>
            <a:pathLst>
              <a:path w="908051" h="244476">
                <a:moveTo>
                  <a:pt x="0" y="244475"/>
                </a:moveTo>
                <a:lnTo>
                  <a:pt x="908050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8" name="Straight Connector 17"/>
          <p:cNvCxnSpPr/>
          <p:nvPr>
            <p:custDataLst>
              <p:tags r:id="rId16"/>
            </p:custDataLst>
          </p:nvPr>
        </p:nvCxnSpPr>
        <p:spPr bwMode="auto">
          <a:xfrm flipV="1">
            <a:off x="1125538" y="2074863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17"/>
            </p:custDataLst>
          </p:nvPr>
        </p:nvCxnSpPr>
        <p:spPr bwMode="auto">
          <a:xfrm>
            <a:off x="1125538" y="2074863"/>
            <a:ext cx="73406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18"/>
            </p:custDataLst>
          </p:nvPr>
        </p:nvCxnSpPr>
        <p:spPr bwMode="auto">
          <a:xfrm>
            <a:off x="8466138" y="2074863"/>
            <a:ext cx="0" cy="957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Rectangle 54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2382838" y="2341563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40BC480-D8D0-4970-B264-C72789F0108D}" type="datetime'''''''''''''''-''''''''''2''0''''''''''0'''''''''''''">
              <a:rPr lang="en-US" altLang="en-US" sz="10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-200</a:t>
            </a:fld>
            <a:endParaRPr lang="en-US" altLang="en-US" sz="1000" b="1" dirty="0" smtClean="0">
              <a:solidFill>
                <a:schemeClr val="bg1"/>
              </a:solidFill>
              <a:ea typeface="+mj-ea"/>
              <a:cs typeface="+mj-cs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(-0.7%)</a:t>
            </a: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668338" y="4908550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BA77412-7551-4B15-BFEB-D43C8E5799EF}" type="datetime' PR''''69''.''''''''SP ''''''''O''''ff''''i''''ci''a''l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 PR69.SP Official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8208963" y="4908550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3F54BCE-66FC-43B5-B933-6CAC2B38469F}" type="datetime''' ''P''''''''''''''''R''''''''''''''''6''''''9''.''''OP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 PR69.OP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5072063" y="4908550"/>
            <a:ext cx="917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6C47C6-6B74-4CCC-82E7-F295698E4834}" type="datetime'C''y''cl''''e'''' Pl''a''n E''''''f''''''''''fe''''''''ct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ycle Plan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2055813" y="4908550"/>
            <a:ext cx="10763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F86122-8E57-42DB-8E1E-90B4A95FA53F}" type="datetime'''Tota''''''l ''Ma''''''''''rk''''''e''t ''E''''''f''''fe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Total Marke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3667125" y="4908550"/>
            <a:ext cx="790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FFCFED-9FAB-4460-811A-EE0B7340B6A9}" type="datetime'''''Pr''''''od''''''''''uc''''''t'''''' ''E''f''fe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oduc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319713" y="2749550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718FBC6-4A1A-445D-B99E-17F03A2B1BD9}" type="datetime'''''''-''''7''''''''''''''''''''''''0''0'''''''''''''''''''''">
              <a:rPr lang="en-US" altLang="en-US" sz="10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-700</a:t>
            </a:fld>
            <a:endParaRPr lang="en-US" altLang="en-US" sz="1000" b="1" dirty="0" smtClean="0">
              <a:solidFill>
                <a:schemeClr val="bg1"/>
              </a:solidFill>
              <a:ea typeface="+mj-ea"/>
              <a:cs typeface="+mj-cs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(-2.4%)</a:t>
            </a: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3975100" y="2511426"/>
            <a:ext cx="174625" cy="1682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D2A5129-7254-4E79-8A72-B869B55FBC4D}" type="datetime'2''''''''''''''''''''''''''''''''''''''0'''''''''''">
              <a:rPr lang="en-US" altLang="en-US" sz="1000" b="1" smtClean="0">
                <a:solidFill>
                  <a:schemeClr val="bg1"/>
                </a:solidFill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0</a:t>
            </a:fld>
            <a:endParaRPr lang="en-US" sz="1000" b="1" noProof="0" dirty="0" smtClean="0">
              <a:solidFill>
                <a:schemeClr val="bg1"/>
              </a:solidFill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6786563" y="3105150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D53F6FB-6BED-4DB3-B809-163B7D46E22D}" type="datetime'''''''''''''-''5''''''''''''''0'''''''''">
              <a:rPr lang="en-US" altLang="en-US" sz="10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-50</a:t>
            </a:fld>
            <a:endParaRPr lang="en-US" altLang="en-US" sz="1000" b="1" dirty="0" smtClean="0">
              <a:solidFill>
                <a:schemeClr val="bg1"/>
              </a:solidFill>
              <a:ea typeface="+mj-ea"/>
              <a:cs typeface="+mj-cs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(-0.2%)</a:t>
            </a: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6638925" y="4908550"/>
            <a:ext cx="717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05EE76-03FD-4589-9195-81D4C6D8E8FC}" type="datetime'''''Pe''''''r''''f''''or''''m''''''''''''''an''''c''''''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erformanc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873125" y="2189163"/>
            <a:ext cx="5048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F3C846C-528F-45E2-9A0E-7914D2BB728F}" type="datetime'''''''20,''''''''''''''''''''''''''0''''''''''''''''''00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0,0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8213725" y="3070225"/>
            <a:ext cx="5048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0E59106-A652-44CA-9449-0CFD30EF12FA}" type="datetime'''''''''''1''''''''9'',''''''0''70''''''''''''''''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9,07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4" name="Oval 3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4521201" y="1836738"/>
            <a:ext cx="550863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408AD8B-F7D4-4F69-863C-2B3D652EFC94}" type="datetime'''''''''''-''''''''''''9''3''''''''''''''''0''''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930</a:t>
            </a:fld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/>
            </a:r>
            <a:b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</a:b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</a:t>
            </a:r>
            <a:fld id="{9C86DD6E-DFC1-4CDE-A740-1AD33121E7D7}" type="datetime'-''''''''''''''4''.''''''''''7''''%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.7%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67333" y="1451742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2595815"/>
              </p:ext>
            </p:extLst>
          </p:nvPr>
        </p:nvGraphicFramePr>
        <p:xfrm>
          <a:off x="367333" y="5123118"/>
          <a:ext cx="8833104" cy="123584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33160971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609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VWAG TheSans"/>
                          <a:ea typeface="+mn-ea"/>
                          <a:cs typeface="+mn-cs"/>
                        </a:rPr>
                        <a:t>Vol. Change by Factors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 smtClean="0">
                          <a:effectLst/>
                        </a:rPr>
                        <a:t>2030E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896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Market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34896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roduct 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70255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Cycle</a:t>
                      </a:r>
                      <a:r>
                        <a:rPr lang="en-US" sz="900" b="1" u="none" strike="noStrike" baseline="0" dirty="0" smtClean="0">
                          <a:effectLst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34896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</a:tbl>
          </a:graphicData>
        </a:graphic>
      </p:graphicFrame>
      <p:graphicFrame>
        <p:nvGraphicFramePr>
          <p:cNvPr id="100" name="Table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7054568"/>
              </p:ext>
            </p:extLst>
          </p:nvPr>
        </p:nvGraphicFramePr>
        <p:xfrm>
          <a:off x="1979870" y="3380205"/>
          <a:ext cx="1214851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994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49857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KT Effects  </a:t>
                      </a:r>
                      <a:r>
                        <a:rPr kumimoji="0" lang="en-US" sz="9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-2030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%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V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0.1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rke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0.1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01156"/>
                  </a:ext>
                </a:extLst>
              </a:tr>
            </a:tbl>
          </a:graphicData>
        </a:graphic>
      </p:graphicFrame>
      <p:graphicFrame>
        <p:nvGraphicFramePr>
          <p:cNvPr id="45" name="Table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121932"/>
              </p:ext>
            </p:extLst>
          </p:nvPr>
        </p:nvGraphicFramePr>
        <p:xfrm>
          <a:off x="4935144" y="3380205"/>
          <a:ext cx="1232901" cy="8223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5032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17869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SOP Delay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420</a:t>
                      </a:r>
                      <a:endParaRPr lang="en-US" sz="8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7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Aero B/VW</a:t>
                      </a:r>
                      <a:endParaRPr lang="en-US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endParaRPr lang="en-US" sz="700" b="0" i="0" u="none" strike="noStrike" kern="1200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5750675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7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Magotan</a:t>
                      </a:r>
                      <a:r>
                        <a:rPr lang="en-US" sz="7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/VW</a:t>
                      </a:r>
                      <a:endParaRPr lang="en-US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endParaRPr lang="en-US" sz="700" b="0" i="0" u="none" strike="noStrike" kern="1200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4486100"/>
                  </a:ext>
                </a:extLst>
              </a:tr>
              <a:tr h="80527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7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Bora/</a:t>
                      </a:r>
                      <a:r>
                        <a:rPr lang="en-US" sz="7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Sagitar</a:t>
                      </a:r>
                      <a:endParaRPr lang="en-US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endParaRPr lang="en-US" sz="700" b="0" i="0" u="none" strike="noStrike" kern="1200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451928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7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B</a:t>
                      </a:r>
                      <a:r>
                        <a:rPr lang="en-US" sz="7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 SMV/VW</a:t>
                      </a:r>
                      <a:endParaRPr lang="en-US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endParaRPr lang="en-US" sz="700" b="0" i="0" u="none" strike="noStrike" kern="1200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1322261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A Minus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CUV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endParaRPr lang="en-US" sz="700" b="0" i="0" u="none" strike="noStrike" kern="1200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6881779"/>
                  </a:ext>
                </a:extLst>
              </a:tr>
              <a:tr h="123817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7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Others</a:t>
                      </a:r>
                      <a:endParaRPr lang="en-US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endParaRPr lang="en-US" sz="700" b="0" i="0" u="none" strike="noStrike" kern="1200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6087273"/>
                  </a:ext>
                </a:extLst>
              </a:tr>
            </a:tbl>
          </a:graphicData>
        </a:graphic>
      </p:graphicFrame>
      <p:graphicFrame>
        <p:nvGraphicFramePr>
          <p:cNvPr id="47" name="Table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4071976"/>
              </p:ext>
            </p:extLst>
          </p:nvPr>
        </p:nvGraphicFramePr>
        <p:xfrm>
          <a:off x="4935144" y="4207199"/>
          <a:ext cx="1232901" cy="2419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5032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17869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28309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EOP pull ahead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279</a:t>
                      </a:r>
                      <a:endParaRPr lang="en-US" sz="8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111075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700" u="none" strike="noStrike" dirty="0" err="1">
                          <a:effectLst/>
                        </a:rPr>
                        <a:t>Tayron</a:t>
                      </a:r>
                      <a:r>
                        <a:rPr lang="en-US" sz="700" u="none" strike="noStrike" dirty="0">
                          <a:effectLst/>
                        </a:rPr>
                        <a:t> </a:t>
                      </a:r>
                      <a:r>
                        <a:rPr lang="en-US" sz="700" u="none" strike="noStrike" dirty="0" smtClean="0">
                          <a:effectLst/>
                        </a:rPr>
                        <a:t>Coupe/VW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u="none" strike="noStrike" dirty="0">
                          <a:solidFill>
                            <a:srgbClr val="C00000"/>
                          </a:solidFill>
                          <a:effectLst/>
                        </a:rPr>
                        <a:t>-</a:t>
                      </a:r>
                      <a:r>
                        <a:rPr lang="en-US" sz="700" u="none" strike="noStrike" dirty="0" smtClean="0">
                          <a:solidFill>
                            <a:srgbClr val="C00000"/>
                          </a:solidFill>
                          <a:effectLst/>
                        </a:rPr>
                        <a:t>279</a:t>
                      </a:r>
                      <a:endParaRPr lang="en-US" sz="7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5750675"/>
                  </a:ext>
                </a:extLst>
              </a:tr>
            </a:tbl>
          </a:graphicData>
        </a:graphic>
      </p:graphicFrame>
      <p:sp>
        <p:nvSpPr>
          <p:cNvPr id="40" name="TextBox 39"/>
          <p:cNvSpPr txBox="1"/>
          <p:nvPr/>
        </p:nvSpPr>
        <p:spPr>
          <a:xfrm>
            <a:off x="408798" y="6435766"/>
            <a:ext cx="1563125" cy="1095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1424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3206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  <a:defRPr/>
            </a:pPr>
            <a:endParaRPr kumimoji="0" lang="de-DE" sz="2000" b="1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2573556869"/>
              </p:ext>
            </p:extLst>
          </p:nvPr>
        </p:nvGraphicFramePr>
        <p:xfrm>
          <a:off x="1113183" y="2256638"/>
          <a:ext cx="7649155" cy="33634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003366"/>
                </a:solidFill>
              </a:rPr>
              <a:t>FAW-VW NEV Volume PR69.OP vs. PR69.S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5046021"/>
              </p:ext>
            </p:extLst>
          </p:nvPr>
        </p:nvGraphicFramePr>
        <p:xfrm>
          <a:off x="444717" y="5485848"/>
          <a:ext cx="8211312" cy="8183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1089874721"/>
                    </a:ext>
                  </a:extLst>
                </a:gridCol>
              </a:tblGrid>
              <a:tr h="221532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S% Change by Brands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0E</a:t>
                      </a:r>
                      <a:endParaRPr lang="en-US" sz="9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Volkswagen Brand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.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di Brand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AW-VW</a:t>
                      </a:r>
                      <a:r>
                        <a:rPr 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Total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.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0.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788514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402772" y="2418487"/>
            <a:ext cx="655984" cy="3023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6958" y="1412633"/>
            <a:ext cx="9224243" cy="408547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 marL="228600" lvl="0" indent="-228600">
              <a:buFont typeface="+mj-lt"/>
              <a:buAutoNum type="arabicParenR"/>
              <a:defRPr/>
            </a:pP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</a:p>
          <a:p>
            <a:pPr marL="228600" lvl="0" indent="-228600">
              <a:buFont typeface="+mj-lt"/>
              <a:buAutoNum type="arabicParenR"/>
              <a:defRPr/>
            </a:pP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751111" y="2551270"/>
            <a:ext cx="1735289" cy="1043268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1828800" marR="0" lvl="4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3751111" y="2553862"/>
            <a:ext cx="100776" cy="12223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1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69249" y="2827975"/>
            <a:ext cx="3093089" cy="1043268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1828800" marR="0" lvl="4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5669249" y="2830567"/>
            <a:ext cx="100776" cy="12223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2</a:t>
            </a:r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08798" y="6435766"/>
            <a:ext cx="1563125" cy="1095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98345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4809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183" name="think-cell Slide" r:id="rId33" imgW="470" imgH="469" progId="TCLayout.ActiveDocument.1">
                  <p:embed/>
                </p:oleObj>
              </mc:Choice>
              <mc:Fallback>
                <p:oleObj name="think-cell Slide" r:id="rId33" imgW="470" imgH="469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  <a:defRPr/>
            </a:pPr>
            <a:endParaRPr kumimoji="0" lang="en-US" sz="1000" b="1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W-VW </a:t>
            </a:r>
            <a:r>
              <a:rPr lang="de-DE" dirty="0" smtClean="0">
                <a:solidFill>
                  <a:srgbClr val="003366"/>
                </a:solidFill>
              </a:rPr>
              <a:t>NEV</a:t>
            </a:r>
            <a:r>
              <a:rPr lang="en-US" dirty="0" smtClean="0"/>
              <a:t> PR69.OP vs. PR69.SP</a:t>
            </a:r>
            <a:r>
              <a:rPr lang="en-US" dirty="0" smtClean="0">
                <a:sym typeface="VWAG TheSans"/>
              </a:rPr>
              <a:t> </a:t>
            </a:r>
            <a:r>
              <a:rPr lang="en-US" dirty="0">
                <a:sym typeface="VWAG TheSans"/>
              </a:rPr>
              <a:t>- Acc. </a:t>
            </a:r>
            <a:r>
              <a:rPr lang="en-US" dirty="0" smtClean="0">
                <a:sym typeface="VWAG TheSans"/>
              </a:rPr>
              <a:t>Volumes (</a:t>
            </a:r>
            <a:r>
              <a:rPr lang="en-US" dirty="0">
                <a:sym typeface="VWAG TheSans"/>
              </a:rPr>
              <a:t>2020-2029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cxnSp>
        <p:nvCxnSpPr>
          <p:cNvPr id="7" name="Straight Connector 6"/>
          <p:cNvCxnSpPr/>
          <p:nvPr>
            <p:custDataLst>
              <p:tags r:id="rId4"/>
            </p:custDataLst>
          </p:nvPr>
        </p:nvCxnSpPr>
        <p:spPr bwMode="auto">
          <a:xfrm>
            <a:off x="1573212" y="2690813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>
            <p:custDataLst>
              <p:tags r:id="rId5"/>
            </p:custDataLst>
          </p:nvPr>
        </p:nvCxnSpPr>
        <p:spPr bwMode="auto">
          <a:xfrm>
            <a:off x="3090862" y="2932113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6"/>
            </p:custDataLst>
          </p:nvPr>
        </p:nvCxnSpPr>
        <p:spPr bwMode="auto">
          <a:xfrm>
            <a:off x="4608512" y="2932113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7"/>
            </p:custDataLst>
          </p:nvPr>
        </p:nvCxnSpPr>
        <p:spPr bwMode="auto">
          <a:xfrm>
            <a:off x="6124574" y="3052763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8"/>
            </p:custDataLst>
          </p:nvPr>
        </p:nvCxnSpPr>
        <p:spPr bwMode="auto">
          <a:xfrm>
            <a:off x="7642224" y="3076575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Rectangle 15"/>
          <p:cNvSpPr/>
          <p:nvPr>
            <p:custDataLst>
              <p:tags r:id="rId9"/>
            </p:custDataLst>
          </p:nvPr>
        </p:nvSpPr>
        <p:spPr bwMode="auto">
          <a:xfrm>
            <a:off x="3763963" y="2928938"/>
            <a:ext cx="844550" cy="6350"/>
          </a:xfrm>
          <a:prstGeom prst="rect">
            <a:avLst/>
          </a:prstGeom>
          <a:solidFill>
            <a:srgbClr val="C30C3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50" name="Chart 49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29543005"/>
              </p:ext>
            </p:extLst>
          </p:nvPr>
        </p:nvGraphicFramePr>
        <p:xfrm>
          <a:off x="309563" y="2608263"/>
          <a:ext cx="9269412" cy="2252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 useBgFill="1">
        <p:nvSpPr>
          <p:cNvPr id="12" name="Freeform 11"/>
          <p:cNvSpPr/>
          <p:nvPr>
            <p:custDataLst>
              <p:tags r:id="rId11"/>
            </p:custDataLst>
          </p:nvPr>
        </p:nvSpPr>
        <p:spPr bwMode="auto">
          <a:xfrm>
            <a:off x="682625" y="3773488"/>
            <a:ext cx="936626" cy="309563"/>
          </a:xfrm>
          <a:custGeom>
            <a:avLst/>
            <a:gdLst/>
            <a:ahLst/>
            <a:cxnLst/>
            <a:rect l="0" t="0" r="0" b="0"/>
            <a:pathLst>
              <a:path w="936626" h="309563">
                <a:moveTo>
                  <a:pt x="0" y="252412"/>
                </a:moveTo>
                <a:lnTo>
                  <a:pt x="936625" y="0"/>
                </a:lnTo>
                <a:lnTo>
                  <a:pt x="936625" y="57150"/>
                </a:lnTo>
                <a:lnTo>
                  <a:pt x="0" y="309562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15" name="Freeform 14"/>
          <p:cNvSpPr/>
          <p:nvPr>
            <p:custDataLst>
              <p:tags r:id="rId12"/>
            </p:custDataLst>
          </p:nvPr>
        </p:nvSpPr>
        <p:spPr bwMode="auto">
          <a:xfrm>
            <a:off x="8269288" y="3773488"/>
            <a:ext cx="936626" cy="309563"/>
          </a:xfrm>
          <a:custGeom>
            <a:avLst/>
            <a:gdLst/>
            <a:ahLst/>
            <a:cxnLst/>
            <a:rect l="0" t="0" r="0" b="0"/>
            <a:pathLst>
              <a:path w="936626" h="309563">
                <a:moveTo>
                  <a:pt x="0" y="252412"/>
                </a:moveTo>
                <a:lnTo>
                  <a:pt x="936625" y="0"/>
                </a:lnTo>
                <a:lnTo>
                  <a:pt x="936625" y="57150"/>
                </a:lnTo>
                <a:lnTo>
                  <a:pt x="0" y="309562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Freeform 2"/>
          <p:cNvSpPr/>
          <p:nvPr>
            <p:custDataLst>
              <p:tags r:id="rId13"/>
            </p:custDataLst>
          </p:nvPr>
        </p:nvSpPr>
        <p:spPr bwMode="auto">
          <a:xfrm>
            <a:off x="682625" y="3773488"/>
            <a:ext cx="936626" cy="252413"/>
          </a:xfrm>
          <a:custGeom>
            <a:avLst/>
            <a:gdLst/>
            <a:ahLst/>
            <a:cxnLst/>
            <a:rect l="0" t="0" r="0" b="0"/>
            <a:pathLst>
              <a:path w="936626" h="252413">
                <a:moveTo>
                  <a:pt x="0" y="252412"/>
                </a:moveTo>
                <a:lnTo>
                  <a:pt x="93662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Freeform 10"/>
          <p:cNvSpPr/>
          <p:nvPr>
            <p:custDataLst>
              <p:tags r:id="rId14"/>
            </p:custDataLst>
          </p:nvPr>
        </p:nvSpPr>
        <p:spPr bwMode="auto">
          <a:xfrm>
            <a:off x="682625" y="3830638"/>
            <a:ext cx="936626" cy="252413"/>
          </a:xfrm>
          <a:custGeom>
            <a:avLst/>
            <a:gdLst/>
            <a:ahLst/>
            <a:cxnLst/>
            <a:rect l="0" t="0" r="0" b="0"/>
            <a:pathLst>
              <a:path w="936626" h="252413">
                <a:moveTo>
                  <a:pt x="0" y="252412"/>
                </a:moveTo>
                <a:lnTo>
                  <a:pt x="93662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Freeform 12"/>
          <p:cNvSpPr/>
          <p:nvPr>
            <p:custDataLst>
              <p:tags r:id="rId15"/>
            </p:custDataLst>
          </p:nvPr>
        </p:nvSpPr>
        <p:spPr bwMode="auto">
          <a:xfrm>
            <a:off x="8269288" y="3773488"/>
            <a:ext cx="936626" cy="252413"/>
          </a:xfrm>
          <a:custGeom>
            <a:avLst/>
            <a:gdLst/>
            <a:ahLst/>
            <a:cxnLst/>
            <a:rect l="0" t="0" r="0" b="0"/>
            <a:pathLst>
              <a:path w="936626" h="252413">
                <a:moveTo>
                  <a:pt x="0" y="252412"/>
                </a:moveTo>
                <a:lnTo>
                  <a:pt x="93662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Freeform 13"/>
          <p:cNvSpPr/>
          <p:nvPr>
            <p:custDataLst>
              <p:tags r:id="rId16"/>
            </p:custDataLst>
          </p:nvPr>
        </p:nvSpPr>
        <p:spPr bwMode="auto">
          <a:xfrm>
            <a:off x="8269288" y="3830638"/>
            <a:ext cx="936626" cy="252413"/>
          </a:xfrm>
          <a:custGeom>
            <a:avLst/>
            <a:gdLst/>
            <a:ahLst/>
            <a:cxnLst/>
            <a:rect l="0" t="0" r="0" b="0"/>
            <a:pathLst>
              <a:path w="936626" h="252413">
                <a:moveTo>
                  <a:pt x="0" y="252412"/>
                </a:moveTo>
                <a:lnTo>
                  <a:pt x="93662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8" name="Straight Connector 17"/>
          <p:cNvCxnSpPr/>
          <p:nvPr>
            <p:custDataLst>
              <p:tags r:id="rId17"/>
            </p:custDataLst>
          </p:nvPr>
        </p:nvCxnSpPr>
        <p:spPr bwMode="auto">
          <a:xfrm flipV="1">
            <a:off x="1150938" y="2349500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18"/>
            </p:custDataLst>
          </p:nvPr>
        </p:nvCxnSpPr>
        <p:spPr bwMode="auto">
          <a:xfrm>
            <a:off x="1150938" y="2349500"/>
            <a:ext cx="758666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19"/>
            </p:custDataLst>
          </p:nvPr>
        </p:nvCxnSpPr>
        <p:spPr bwMode="auto">
          <a:xfrm>
            <a:off x="8737600" y="2349501"/>
            <a:ext cx="0" cy="4619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Rectangle 24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906463" y="4821238"/>
            <a:ext cx="4889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D063A62-C3D1-48EC-98CA-B53A278E1A05}" type="datetime' ''PR69''''''.''''SP&#10;O''f''''''''f''ic''''''''''i''al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 PR69.SP
Official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457450" y="2643188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38E5477-D4CD-46BD-B400-3318DF084E56}" type="datetime'''''''''''''-''2''''''''0''''''''0'''''">
              <a:rPr lang="en-US" altLang="en-US" sz="10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-200</a:t>
            </a:fld>
            <a:endParaRPr lang="en-US" altLang="en-US" sz="1000" b="1" dirty="0" smtClean="0">
              <a:solidFill>
                <a:schemeClr val="bg1"/>
              </a:solidFill>
              <a:ea typeface="+mj-ea"/>
              <a:cs typeface="+mj-cs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(-7.1%)</a:t>
            </a: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2154238" y="4821238"/>
            <a:ext cx="10287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7B7E8E5-4D7B-479C-9142-72FA96B59B07}" type="datetime'''N''''E''''''''V Ma''r''''''ke''''t ''Ef''''''''''fe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NEV Marke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3790950" y="4821238"/>
            <a:ext cx="790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FFCFED-9FAB-4460-811A-EE0B7340B6A9}" type="datetime'''''Pr''''''od''''''''''uc''''''t'''''' ''E''f''fe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oduc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5491163" y="2824163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3317841-072E-436E-8591-083A3F47D9E4}" type="datetime'''''''''''''''-''''''10''''''''''''''''''0'''''''''''">
              <a:rPr lang="en-US" altLang="en-US" sz="10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-100</a:t>
            </a:fld>
            <a:endParaRPr lang="en-US" altLang="en-US" sz="1000" b="1" dirty="0" smtClean="0">
              <a:solidFill>
                <a:schemeClr val="bg1"/>
              </a:solidFill>
              <a:ea typeface="+mj-ea"/>
              <a:cs typeface="+mj-cs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(-</a:t>
            </a:r>
            <a:r>
              <a:rPr lang="en-US" altLang="zh-CN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3.1</a:t>
            </a:r>
            <a:r>
              <a:rPr lang="en-US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%)</a:t>
            </a: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5243513" y="4821238"/>
            <a:ext cx="917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6C47C6-6B74-4CCC-82E7-F295698E4834}" type="datetime'C''y''cl''''e'''' Pl''a''n E''''''f''''''''''fe''''''''ct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ycle Plan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7008813" y="2895600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4161B5A-6433-4D5B-93B1-7CE4D74E0F42}" type="datetime'''''''''''''''''''''''''''''-''''''''''''''''''''2''''0'''''">
              <a:rPr lang="en-US" altLang="en-US" sz="10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-20</a:t>
            </a:fld>
            <a:endParaRPr lang="en-US" altLang="en-US" sz="1000" b="1" dirty="0" smtClean="0">
              <a:solidFill>
                <a:schemeClr val="bg1"/>
              </a:solidFill>
              <a:ea typeface="+mj-ea"/>
              <a:cs typeface="+mj-cs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(-</a:t>
            </a:r>
            <a:r>
              <a:rPr lang="en-US" altLang="zh-CN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0.4</a:t>
            </a:r>
            <a:r>
              <a:rPr lang="en-US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%)</a:t>
            </a: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6861175" y="4821238"/>
            <a:ext cx="717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05EE76-03FD-4589-9195-81D4C6D8E8FC}" type="datetime'''''Pe''''''r''''f''''or''''m''''''''''''''an''''c''''''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erformanc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8480425" y="4821238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D18034B-21AF-46A2-917F-274CD6643F71}" type="datetime''''''''''''''''''''''''''''' ''''''''''''P''R69''.''''O''''P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 PR69.OP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941388" y="2463800"/>
            <a:ext cx="4206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EB79DD7-A429-400A-80BA-B42B650EB41B}" type="datetime'''''''''''''''5'''''''''',''''''''''''0''''''''''''0''''0''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5,0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8528050" y="2849563"/>
            <a:ext cx="4206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4D119F9-2902-42F4-858E-723197E06D98}" type="datetime'''''''''''''''''''4'''''''''''''''''',6''''''''''''8''0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4,68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4" name="Oval 3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4668839" y="2111375"/>
            <a:ext cx="550863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57EC5AD-1140-43E1-900B-503BCEFCD87A}" type="datetime'''''''''''''''''-3''''''''2''''0''''''''''''''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320</a:t>
            </a:fld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/>
            </a:r>
            <a:b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</a:b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</a:t>
            </a:r>
            <a:fld id="{63A966A1-D086-44AD-B298-D61E264B5B52}" type="datetime'''''''''''''''''''-''''''6.''4''''''''''''''''''''%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6.4%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412008" y="1485464"/>
            <a:ext cx="655984" cy="3023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8254194"/>
              </p:ext>
            </p:extLst>
          </p:nvPr>
        </p:nvGraphicFramePr>
        <p:xfrm>
          <a:off x="300849" y="5189875"/>
          <a:ext cx="9195571" cy="120590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191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30940533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3725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VWAG TheSans"/>
                          <a:ea typeface="+mn-ea"/>
                          <a:cs typeface="+mn-cs"/>
                        </a:rPr>
                        <a:t>Vol. Change by Factors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896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Market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33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33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33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33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33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33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2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roduct 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70255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Cycle</a:t>
                      </a:r>
                      <a:r>
                        <a:rPr lang="en-US" sz="900" b="1" u="none" strike="noStrike" baseline="0" dirty="0" smtClean="0">
                          <a:effectLst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1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34896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5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5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5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5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5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5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5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5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-5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5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2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</a:tbl>
          </a:graphicData>
        </a:graphic>
      </p:graphicFrame>
      <p:graphicFrame>
        <p:nvGraphicFramePr>
          <p:cNvPr id="64" name="Table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433881"/>
              </p:ext>
            </p:extLst>
          </p:nvPr>
        </p:nvGraphicFramePr>
        <p:xfrm>
          <a:off x="2132652" y="3339810"/>
          <a:ext cx="1214851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994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49857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KT Effects  </a:t>
                      </a:r>
                      <a:r>
                        <a:rPr kumimoji="0" lang="en-US" sz="9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-2030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V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6.5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</a:tbl>
          </a:graphicData>
        </a:graphic>
      </p:graphicFrame>
      <p:graphicFrame>
        <p:nvGraphicFramePr>
          <p:cNvPr id="53" name="Table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9735593"/>
              </p:ext>
            </p:extLst>
          </p:nvPr>
        </p:nvGraphicFramePr>
        <p:xfrm>
          <a:off x="5067300" y="3339810"/>
          <a:ext cx="1356360" cy="6995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6660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49700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49730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SOP Delay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5</a:t>
                      </a:r>
                      <a:r>
                        <a:rPr lang="en-US" altLang="zh-CN" sz="9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5</a:t>
                      </a:r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131014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5750675"/>
                  </a:ext>
                </a:extLst>
              </a:tr>
              <a:tr h="139603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4486100"/>
                  </a:ext>
                </a:extLst>
              </a:tr>
              <a:tr h="139603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423314"/>
                  </a:ext>
                </a:extLst>
              </a:tr>
              <a:tr h="139603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8268346"/>
                  </a:ext>
                </a:extLst>
              </a:tr>
            </a:tbl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408798" y="6435766"/>
            <a:ext cx="1563125" cy="1095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39588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904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lang="en-US" sz="20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012175" y="1759814"/>
            <a:ext cx="5882779" cy="4086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Total Marke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411132" y="1759814"/>
            <a:ext cx="422030" cy="4086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1</a:t>
            </a: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411132" y="2350542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2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411132" y="2942380"/>
            <a:ext cx="422030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br>
              <a:rPr lang="en-US" dirty="0"/>
            </a:br>
            <a:endParaRPr lang="en-US" dirty="0"/>
          </a:p>
        </p:txBody>
      </p:sp>
      <p:sp>
        <p:nvSpPr>
          <p:cNvPr id="2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31" name="Rectangle 4"/>
          <p:cNvSpPr>
            <a:spLocks noChangeArrowheads="1"/>
          </p:cNvSpPr>
          <p:nvPr/>
        </p:nvSpPr>
        <p:spPr bwMode="auto">
          <a:xfrm>
            <a:off x="411132" y="3534218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4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1012175" y="2350542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PR69.OP Volume Plan – FAW-VW</a:t>
            </a: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auto">
          <a:xfrm>
            <a:off x="1012175" y="2942380"/>
            <a:ext cx="5882779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PR69.OP Volume Plan – FAW-VW VW + Jetta</a:t>
            </a: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1012175" y="3534218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FAW-VW </a:t>
            </a:r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Audi CKD</a:t>
            </a:r>
            <a:endParaRPr lang="en-US" altLang="zh-CN" sz="1800" b="1" dirty="0">
              <a:solidFill>
                <a:srgbClr val="FFFFFF"/>
              </a:solidFill>
              <a:latin typeface="VWAG TheSans"/>
              <a:sym typeface="VWAG TheSans"/>
            </a:endParaRPr>
          </a:p>
        </p:txBody>
      </p:sp>
    </p:spTree>
    <p:extLst>
      <p:ext uri="{BB962C8B-B14F-4D97-AF65-F5344CB8AC3E}">
        <p14:creationId xmlns:p14="http://schemas.microsoft.com/office/powerpoint/2010/main" val="3443226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643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2098" name="think-cell Slide" r:id="rId74" imgW="470" imgH="469" progId="TCLayout.ActiveDocument.1">
                  <p:embed/>
                </p:oleObj>
              </mc:Choice>
              <mc:Fallback>
                <p:oleObj name="think-cell Slide" r:id="rId74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9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VWAG TheSans" panose="020B0502050302020203" pitchFamily="34" charset="0"/>
              </a:rPr>
              <a:t>FAW-VW </a:t>
            </a:r>
            <a:r>
              <a:rPr lang="en-US" u="sng" dirty="0" smtClean="0">
                <a:sym typeface="VWAG TheSans" panose="020B0502050302020203" pitchFamily="34" charset="0"/>
              </a:rPr>
              <a:t>VW + Jetta</a:t>
            </a:r>
            <a:r>
              <a:rPr lang="en-US" dirty="0" smtClean="0">
                <a:sym typeface="VWAG TheSans" panose="020B0502050302020203" pitchFamily="34" charset="0"/>
              </a:rPr>
              <a:t> PR69.OP </a:t>
            </a:r>
            <a:r>
              <a:rPr lang="en-US" dirty="0">
                <a:sym typeface="VWAG TheSans" panose="020B0502050302020203" pitchFamily="34" charset="0"/>
              </a:rPr>
              <a:t>Volume Planning 2020-20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24275" y="3452679"/>
            <a:ext cx="655984" cy="369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376958" y="1391473"/>
            <a:ext cx="9119467" cy="647700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228600" lvl="0" indent="-228600">
              <a:spcBef>
                <a:spcPts val="540"/>
              </a:spcBef>
              <a:buFont typeface="+mj-lt"/>
              <a:buAutoNum type="arabicParenR"/>
              <a:defRPr/>
            </a:pP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228600" lvl="0" indent="-228600">
              <a:spcBef>
                <a:spcPts val="540"/>
              </a:spcBef>
              <a:buFont typeface="+mj-lt"/>
              <a:buAutoNum type="arabicParenR"/>
              <a:defRPr/>
            </a:pPr>
            <a:r>
              <a:rPr lang="en-US" sz="900" dirty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</a:p>
          <a:p>
            <a:pPr marL="228600" lvl="0" indent="-228600">
              <a:spcBef>
                <a:spcPts val="540"/>
              </a:spcBef>
              <a:buFont typeface="+mj-lt"/>
              <a:buAutoNum type="arabicParenR"/>
              <a:defRPr/>
            </a:pPr>
            <a:r>
              <a:rPr lang="en-US" sz="900" dirty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408798" y="6435401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  <p:graphicFrame>
        <p:nvGraphicFramePr>
          <p:cNvPr id="172" name="Chart 171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01200910"/>
              </p:ext>
            </p:extLst>
          </p:nvPr>
        </p:nvGraphicFramePr>
        <p:xfrm>
          <a:off x="1147763" y="3074988"/>
          <a:ext cx="8431212" cy="272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92" name="Rectangle 91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2159000" y="5749925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51FE1CC-72E4-4449-A138-BB12A4241CB6}" type="datetime'''2''0''''''''''''''''''''''2''''''''''''''''''''0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9" name="Rectangle 118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9018588" y="3732213"/>
            <a:ext cx="268288" cy="21272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7DE4562-FEB1-4EDB-B8A1-30A071871699}" type="datetime'''''''''''''''''''''''''''''''2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</a:t>
            </a:fld>
            <a:r>
              <a:rPr kumimoji="0" lang="en-US" alt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/>
            </a:r>
            <a:br>
              <a:rPr kumimoji="0" lang="en-US" alt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</a:br>
            <a:r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fld id="{28AC5B99-4BCD-4C0F-B851-1295B9666F47}" type="datetime'0''''''''''''''''''''.''''''''''''''1''''''''''%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1%</a:t>
            </a:fld>
            <a:r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)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9" name="Rectangle 138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8358188" y="5749925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44CA578-16E2-41CA-BDD9-586427830AD6}" type="datetime'''''''''''''''''2''''''''''''''0''2''''''''''''9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9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4" name="Rectangle 13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6962775" y="4813300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15EC6AD-8B29-45FF-AE7B-979AEBF328F7}" type="datetime'2,000''''''''''''''''''''''''''''''''''''''''''''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0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3" name="Rectangle 102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5537200" y="2954338"/>
            <a:ext cx="3397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CF082A4-20DE-4FEA-8250-251B81DCBF07}" type="datetime'''10''.''''''''''''''''''''''''0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98" name="Rectangle 97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227263" y="4378325"/>
            <a:ext cx="74613" cy="1174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2C30F06-6C16-4932-B653-F28EFE2277BB}" type="datetime'''''''2'''''">
              <a:rPr lang="en-US" altLang="en-US" sz="7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2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93" name="Rectangle 9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093913" y="2940050"/>
            <a:ext cx="3397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934F76E-7972-47EF-928F-C8CBAC21162A}" type="datetime'1''''''0''''''''''''''''''.''''0%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0.0%</a:t>
            </a:fld>
            <a:endParaRPr kumimoji="0" lang="en-US" sz="9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129" name="Rectangle 128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6226175" y="2954338"/>
            <a:ext cx="3397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E07D397-51F4-412F-A0CE-D887357DF292}" type="datetime'''1''0''''''''''''.''''''''''''''''''''''''''''''''''''''''0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95" name="Rectangle 94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1404938" y="2954338"/>
            <a:ext cx="3397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720DEFF-2455-4F45-979E-FBDB6F14F1F1}" type="datetime'''''''''1''''''''''''''0''''''''''''.''''''''0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94" name="Rectangle 9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1452563" y="5068888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D13E2AE-3085-4E4A-BF33-A62FB1898309}" type="datetime'''1'''''''''''''',4''''''''''''''''''''''''''0''''''''''''0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4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6" name="Rectangle 115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3536950" y="5749925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BADB581-5935-493E-AFB7-E73BC40D329A}" type="datetime'''''''''''''''2''''''''02''''2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2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99" name="Rectangle 98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1470025" y="5749925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4D4189E-9033-45D9-94C2-A6686BA83416}" type="datetime'''''''''2''''''''''''''''''''0''''1''''9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19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0" name="Rectangle 99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2141538" y="5019675"/>
            <a:ext cx="244475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E53B5B8-4E19-4082-AAC2-4D69FCB68D5E}" type="datetime'''''''''''''''''''''''''1'',''''''''''''''''''5''0''''''0'''">
              <a:rPr lang="en-US" altLang="en-US" sz="7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5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101" name="Rectangle 100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2782888" y="2954338"/>
            <a:ext cx="3397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361F703-EBEB-475C-AFAC-FC406561A220}" type="datetime'1''''''0''''''''''''''''''''''''''''.''''''''''0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2" name="Rectangle 101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2916238" y="4298950"/>
            <a:ext cx="74613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78208FC-FA91-495A-BCEE-A37F52A4FA0A}" type="datetime'''''''''''2''''''''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0" name="Rectangle 139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8982075" y="2954338"/>
            <a:ext cx="3397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C957FBB-877F-4F7A-A994-3FFAC0A4ABCF}" type="datetime'''''''''''''''10''''''.''''''''''''0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7" name="Rectangle 136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8426451" y="3871913"/>
            <a:ext cx="74613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26762A8-5DBE-4717-84F0-52A5EE3EEC32}" type="datetime'''''''''''2''''''''''''''''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5" name="Rectangle 104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2830513" y="4983163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5B6C0A4-A34D-4EF9-8F5C-1063AA12FB8F}" type="datetime'''1'''''''''''',''6''''''''''''''0''''''''0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6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3" name="Rectangle 132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6291263" y="5749925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55D4843-7E09-45CC-988B-8CA6B342F8C8}" type="datetime'''''''''''''''''''2''''''''''''''0''''''''''''''''2''''6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6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8" name="Rectangle 117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4160838" y="2954338"/>
            <a:ext cx="3397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8D25326-F9EF-4F0B-9E35-77307727C748}" type="datetime'''''''''''10''''''''.''''''''0''''''''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8" name="Rectangle 107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2847975" y="5749925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508378D-8764-481C-8813-96B88FE47A63}" type="datetime'''''''''''20''''''''''''''''''''''''''''''''''''2''''''''''1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1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3" name="Rectangle 112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3471863" y="2954338"/>
            <a:ext cx="3397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27B7E24-F86E-4415-BFB6-410B55BC8F1E}" type="datetime'''''''10''''''''''''''.''''''''''''''''''''''0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4" name="Rectangle 12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4849813" y="2954338"/>
            <a:ext cx="3397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026471F-A1E7-4542-B896-9104BE08867B}" type="datetime'''''''''1''0''''''''''''''.''''''0''''''''''''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2" name="Rectangle 111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3605214" y="4470400"/>
            <a:ext cx="74613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6A0D4FA-7CC1-426F-9C98-CB0E968BA8ED}" type="datetime'''''''''''1''''''''''''''''''''''''''''''''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1" name="Rectangle 110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7737476" y="4470400"/>
            <a:ext cx="74613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2C48EBF-7C9D-41CB-90E1-B7A831FDBE66}" type="datetime'''''''''1''''''''''''''''''''''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4" name="Rectangle 11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3519488" y="5068888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8972DAE-E653-435E-8222-126FBB8913BF}" type="datetime'''1'',''4''''0''''0''''''''''''''''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4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1" name="Rectangle 120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4294189" y="4213225"/>
            <a:ext cx="74613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74A0C7E-294B-4B69-9E3A-23169B799E65}" type="datetime'''''''''''''''''''''''''''''''''2''''''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9" name="Rectangle 148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2106613" y="4227513"/>
            <a:ext cx="3159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A705018-0B5D-4E37-80F9-1628FB3DF32B}" type="datetime'''''''1'''''''''''''',''''''''5''0''''''''''2'">
              <a:rPr lang="en-US" altLang="en-US" sz="9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502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141" name="Rectangle 140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9029700" y="4727575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B458B12-AEF5-4F36-8CE8-4DA6B4F053F3}" type="datetime'2,''''2''''''''''''''''''''''0''''''''''0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2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2" name="Rectangle 121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4208463" y="4940300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D259E73-8486-4F37-8A33-F69EE867E328}" type="datetime'1'''',''''''''''''''''''''7''''''''''00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7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96" name="Rectangle 95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9047163" y="5749925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B3198DF-F416-4372-BECB-5B181B500633}" type="datetime'''''2''''''''''''''''''0''3''''''''''''''''0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3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3" name="Rectangle 122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4225925" y="5749925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B0E9544-9970-4B9E-A04E-8DA442B6662D}" type="datetime'''''''''''''2''''''''''''''''''''''''''''0''2''''''''''''3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3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5" name="Rectangle 124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4983164" y="4129088"/>
            <a:ext cx="74613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F414B12-9D35-4976-9523-39F1E487A22A}" type="datetime'''''''''''''''''''''''''''''''''''''''2''''''''''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7" name="Rectangle 116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6238875" y="3906838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6F80DCF-717B-46A9-82FF-DF21AA60CC62}" type="datetime'''''1'',9''0''''''''2''''''''''''''''''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902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8" name="Rectangle 137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8340725" y="4770438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896F029-08FE-45F3-9AD0-D6E140941A6A}" type="datetime'''''''''''''''''''''''''''''''2'''''''''',1''''00''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1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1" name="Rectangle 130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6915150" y="2954338"/>
            <a:ext cx="3397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ABAA26D-2B4F-46BD-B595-3C29B0FF26AE}" type="datetime'''1''''''''''0''.''''''''''''''''''''''''''''0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6" name="Rectangle 125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4897438" y="4899025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1DF930E-D128-4BA6-BF1E-29878BF0BBFF}" type="datetime'''''''1'''''''''',''8''''''''''0''''''''0''''''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8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91" name="Rectangle 90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4914900" y="5749925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721F851-4A57-4D8A-85D2-540666A80E35}" type="datetime'''''''''''''''''''''''''''2''02''4''''''''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4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3" name="Rectangle 142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2795588" y="4162425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E30FFFC-6391-4240-87DD-E6868377B18D}" type="datetime'''1'''''''',''''''''''''''602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602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7" name="Rectangle 126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5573713" y="4416425"/>
            <a:ext cx="268288" cy="21272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EE8DA03-0896-42DB-B2E9-BA82F7994E9F}" type="datetime'''''''''''''''''''1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</a:t>
            </a:fld>
            <a:r>
              <a:rPr kumimoji="0" lang="en-US" alt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/>
            </a:r>
            <a:br>
              <a:rPr kumimoji="0" lang="en-US" alt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</a:br>
            <a:r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fld id="{843DE493-53BC-4B7D-AD2C-488755017D72}" type="datetime'''0.1''''''''''''''''''''''%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1%</a:t>
            </a:fld>
            <a:r>
              <a:rPr kumimoji="0" lang="en-US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)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0" name="Rectangle 119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5584825" y="5062538"/>
            <a:ext cx="244475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5E940CC-C58F-489F-BFEC-D72E8C5E72B7}" type="datetime'''''1'',4''''''''00''''''''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4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8" name="Rectangle 147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8994775" y="3595688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8E63E98-8513-49F5-9CF2-B9D503B36058}" type="datetime'''''2'''''''',2''''''''0''''''2''''''''''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202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5" name="Rectangle 134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auto">
          <a:xfrm>
            <a:off x="5602288" y="5749925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E23623C-1977-418A-887B-4B5E2B71D48D}" type="datetime'''''''2''''''''''''''''''''''0''''25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5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0" name="Rectangle 129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6359526" y="4043363"/>
            <a:ext cx="74613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C4A236C-0D49-4669-A02F-4468C54F84C4}" type="datetime'''''''2''''''''''''''''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2" name="Rectangle 131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6273800" y="4856163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C249FAB-CD51-4EBD-88ED-5D70FB047A00}" type="datetime'''''''''''''''''''''''''''''''''''1'''''''',''9''''0''''''0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9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97" name="Rectangle 96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1538289" y="4470400"/>
            <a:ext cx="74613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21BCFD2-5DA9-46E1-8E44-4A2E3127BB8C}" type="datetime'''''''''''''''''''''''''''''''''1''''''''''''''''''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2" name="Rectangle 141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auto">
          <a:xfrm>
            <a:off x="6980238" y="5749925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400DCD7-5959-44EE-8279-C5C7A5A85E81}" type="datetime'''''2''''0''2''''''''''''7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7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6" name="Rectangle 135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7604125" y="2954338"/>
            <a:ext cx="3397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562DFA3-FD86-4759-9945-2D3CD4875306}" type="datetime'''''''1''''0''''''''''''''.''''''''''''0''''''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7" name="Rectangle 146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7616825" y="4279900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03AC30F-9B16-47F8-8A93-F725D8755619}" type="datetime'''''1'''''''''',''''''''''4''''''''''''0''1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401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90" name="Rectangle 89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gray">
          <a:xfrm>
            <a:off x="7651750" y="5068888"/>
            <a:ext cx="24447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B9653EE-8DA5-442B-BDEC-90D6E7136938}" type="datetime'''''''''1'''''''''''''''''''',''''''''''''''''''''40''0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400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0" name="Rectangle 109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auto">
          <a:xfrm>
            <a:off x="7669213" y="5749925"/>
            <a:ext cx="209550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9F21E91-872D-4B55-A960-FD19AFDDB997}" type="datetime'''''''''''''''''2''''''0''''28'''''''''''''''''''''''''''">
              <a:rPr lang="en-US" altLang="en-US" sz="7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28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5" name="Rectangle 114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8293100" y="2954338"/>
            <a:ext cx="3397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422C798-17B8-4EBC-9454-F8F2B9B7C208}" type="datetime'1''''''''0''''''''''''''''.''''''''''''0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0</a:t>
            </a:fld>
            <a:r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8" name="Rectangle 127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gray">
          <a:xfrm>
            <a:off x="7048501" y="3957638"/>
            <a:ext cx="74613" cy="106363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700" tIns="0" rIns="127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578232F-77E2-4ACB-AAF7-250F1DEC8AC6}" type="datetime'''''''''''''''''''''''''''''''''''''''2'''''''''''">
              <a:rPr lang="en-US" altLang="en-US" sz="7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4" name="Rectangle 143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gray">
          <a:xfrm>
            <a:off x="3484563" y="4279900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02854CC-4107-4AD7-AC52-4451ED140039}" type="datetime'''1'''''''''''',''''''''''''''40''''''1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401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5" name="Rectangle 144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4173538" y="4076700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3B8BEB5-83A4-4D6B-8518-2213676139CE}" type="datetime'''''1'',''''''''''''''''''7''''''0''''''''''2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702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6" name="Rectangle 105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4862513" y="3992563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6DC51B4-305F-4CE3-B6B8-90A248B8E66F}" type="datetime'''''''''''''''''''''''''1,''''''''''8''0''''''''''''2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802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9" name="Rectangle 108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5549900" y="4279900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395BB38-2313-421E-87E6-029454993E60}" type="datetime'''''1'''''''''''',4''01''''''''''''''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401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6" name="Rectangle 145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6927850" y="3821113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F79DA43-0AAF-4D5D-842B-3A836ACFEA90}" type="datetime'''''''''''2'''''''''''',''''''0''''''''0''''''''''''''2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002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4" name="Rectangle 103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gray">
          <a:xfrm>
            <a:off x="8305800" y="3735388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CB8F609-672C-4F20-9F71-119FB4364FBD}" type="datetime'''''2'',''''''''10''''''''''''''''2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102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7" name="Rectangle 106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1417638" y="4279900"/>
            <a:ext cx="315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293A161-4FD8-426E-AE3C-A2A2F6E8F9CA}" type="datetime'1'''',''4''''''''''''''''''0''''1'''''''''''''''''''">
              <a:rPr lang="en-US" altLang="en-US" sz="9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401</a:t>
            </a:fld>
            <a:endParaRPr kumimoji="0" lang="en-US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cxnSp>
        <p:nvCxnSpPr>
          <p:cNvPr id="150" name="Straight Connector 149"/>
          <p:cNvCxnSpPr/>
          <p:nvPr>
            <p:custDataLst>
              <p:tags r:id="rId65"/>
            </p:custDataLst>
          </p:nvPr>
        </p:nvCxnSpPr>
        <p:spPr bwMode="auto">
          <a:xfrm>
            <a:off x="579438" y="4110038"/>
            <a:ext cx="8572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1" name="Rectangle 150"/>
          <p:cNvSpPr/>
          <p:nvPr>
            <p:custDataLst>
              <p:tags r:id="rId66"/>
            </p:custDataLst>
          </p:nvPr>
        </p:nvSpPr>
        <p:spPr bwMode="auto">
          <a:xfrm>
            <a:off x="577850" y="4221163"/>
            <a:ext cx="125413" cy="93663"/>
          </a:xfrm>
          <a:prstGeom prst="rect">
            <a:avLst/>
          </a:prstGeom>
          <a:solidFill>
            <a:srgbClr val="007770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2" name="Rectangle 151"/>
          <p:cNvSpPr/>
          <p:nvPr>
            <p:custDataLst>
              <p:tags r:id="rId67"/>
            </p:custDataLst>
          </p:nvPr>
        </p:nvSpPr>
        <p:spPr bwMode="auto">
          <a:xfrm>
            <a:off x="577850" y="4378325"/>
            <a:ext cx="125413" cy="93663"/>
          </a:xfrm>
          <a:prstGeom prst="rect">
            <a:avLst/>
          </a:prstGeom>
          <a:solidFill>
            <a:srgbClr val="C0D9E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3" name="Oval 152"/>
          <p:cNvSpPr/>
          <p:nvPr>
            <p:custDataLst>
              <p:tags r:id="rId68"/>
            </p:custDataLst>
          </p:nvPr>
        </p:nvSpPr>
        <p:spPr bwMode="auto">
          <a:xfrm>
            <a:off x="609600" y="4097338"/>
            <a:ext cx="25400" cy="254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5" name="Rectangle 154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auto">
          <a:xfrm>
            <a:off x="754063" y="4060825"/>
            <a:ext cx="19208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  <a:defRPr/>
            </a:pPr>
            <a:fld id="{F6136251-A7F1-43BC-9E1F-3ADD073DD475}" type="datetime'''''''''''''''''''''''''''''''''''''''MS''''''''''%'''''''">
              <a:rPr lang="en-US" altLang="en-US" sz="700" b="1" smtClean="0">
                <a:solidFill>
                  <a:srgbClr val="000000"/>
                </a:solidFill>
              </a:rPr>
              <a:pPr lvl="0">
                <a:lnSpc>
                  <a:spcPct val="100000"/>
                </a:lnSpc>
                <a:spcAft>
                  <a:spcPct val="0"/>
                </a:spcAft>
                <a:defRPr/>
              </a:pPr>
              <a:t>MS%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54" name="Rectangle 153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auto">
          <a:xfrm>
            <a:off x="754063" y="4375150"/>
            <a:ext cx="12223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  <a:defRPr/>
            </a:pPr>
            <a:fld id="{D33D2779-FBA1-4295-A1A6-E24CB7B43F28}" type="datetime'I''''''''C''''''''''''''''''''E'">
              <a:rPr lang="en-US" altLang="en-US" sz="700" b="1" smtClean="0">
                <a:solidFill>
                  <a:srgbClr val="000000"/>
                </a:solidFill>
              </a:rPr>
              <a:pPr lvl="0">
                <a:lnSpc>
                  <a:spcPct val="100000"/>
                </a:lnSpc>
                <a:spcAft>
                  <a:spcPct val="0"/>
                </a:spcAft>
                <a:defRPr/>
              </a:pPr>
              <a:t>ICE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56" name="Rectangle 155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auto">
          <a:xfrm>
            <a:off x="754063" y="4217988"/>
            <a:ext cx="163513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  <a:defRPr/>
            </a:pPr>
            <a:fld id="{B52CBA99-EE79-4EC7-A01A-AD3DF467C74B}" type="datetime'''''''''''''''''''''''''N''''''''''E''''''''''''V'''''''''''''">
              <a:rPr lang="en-US" altLang="en-US" sz="700" b="1" smtClean="0">
                <a:solidFill>
                  <a:srgbClr val="000000"/>
                </a:solidFill>
              </a:rPr>
              <a:pPr lvl="0">
                <a:lnSpc>
                  <a:spcPct val="100000"/>
                </a:lnSpc>
                <a:spcAft>
                  <a:spcPct val="0"/>
                </a:spcAft>
                <a:defRPr/>
              </a:pPr>
              <a:t>NEV</a:t>
            </a:fld>
            <a:endParaRPr kumimoji="0" lang="en-US" sz="7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graphicFrame>
        <p:nvGraphicFramePr>
          <p:cNvPr id="76" name="Table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7747304"/>
              </p:ext>
            </p:extLst>
          </p:nvPr>
        </p:nvGraphicFramePr>
        <p:xfrm>
          <a:off x="392113" y="5731459"/>
          <a:ext cx="9122228" cy="67906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32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21869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S%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T="9525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19A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EV MKT%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0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0.1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900" b="1" baseline="0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ICE MKT%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5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5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5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5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5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5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5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5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5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5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+mn-cs"/>
                        </a:rPr>
                        <a:t>5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75" name="TextBox 174"/>
          <p:cNvSpPr txBox="1"/>
          <p:nvPr/>
        </p:nvSpPr>
        <p:spPr>
          <a:xfrm>
            <a:off x="5402580" y="2986088"/>
            <a:ext cx="4054089" cy="70961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1828800" marR="0" lvl="4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176" name="Rectangle 175"/>
          <p:cNvSpPr/>
          <p:nvPr/>
        </p:nvSpPr>
        <p:spPr bwMode="auto">
          <a:xfrm>
            <a:off x="5401466" y="2987675"/>
            <a:ext cx="152519" cy="14922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2</a:t>
            </a:r>
          </a:p>
        </p:txBody>
      </p:sp>
      <p:sp>
        <p:nvSpPr>
          <p:cNvPr id="177" name="TextBox 176"/>
          <p:cNvSpPr txBox="1"/>
          <p:nvPr/>
        </p:nvSpPr>
        <p:spPr>
          <a:xfrm>
            <a:off x="2026921" y="2978468"/>
            <a:ext cx="1836420" cy="70961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1828800" marR="0" lvl="4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178" name="Rectangle 177"/>
          <p:cNvSpPr/>
          <p:nvPr/>
        </p:nvSpPr>
        <p:spPr bwMode="auto">
          <a:xfrm>
            <a:off x="2025806" y="2980055"/>
            <a:ext cx="152519" cy="14922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1</a:t>
            </a:r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180" name="TextBox 179"/>
          <p:cNvSpPr txBox="1"/>
          <p:nvPr/>
        </p:nvSpPr>
        <p:spPr>
          <a:xfrm>
            <a:off x="5378483" y="5964822"/>
            <a:ext cx="4114632" cy="193674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1828800" marR="0" lvl="4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181" name="Rectangle 180"/>
          <p:cNvSpPr/>
          <p:nvPr/>
        </p:nvSpPr>
        <p:spPr bwMode="auto">
          <a:xfrm>
            <a:off x="5410110" y="5975350"/>
            <a:ext cx="152519" cy="14922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2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5372099" y="3923348"/>
            <a:ext cx="670561" cy="34385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1828800" marR="0" lvl="4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183" name="Rectangle 182"/>
          <p:cNvSpPr/>
          <p:nvPr/>
        </p:nvSpPr>
        <p:spPr bwMode="auto">
          <a:xfrm>
            <a:off x="5363366" y="3924935"/>
            <a:ext cx="152519" cy="14922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3</a:t>
            </a:r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789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8407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659" name="think-cell Slide" r:id="rId74" imgW="470" imgH="469" progId="TCLayout.ActiveDocument.1">
                  <p:embed/>
                </p:oleObj>
              </mc:Choice>
              <mc:Fallback>
                <p:oleObj name="think-cell Slide" r:id="rId74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1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VWAG TheSans" panose="020B0502050302020203" pitchFamily="34" charset="0"/>
              </a:rPr>
              <a:t>FAW-VW VW PR69.OP </a:t>
            </a:r>
            <a:r>
              <a:rPr lang="en-US" dirty="0">
                <a:sym typeface="VWAG TheSans" panose="020B0502050302020203" pitchFamily="34" charset="0"/>
              </a:rPr>
              <a:t>Volume Planning 2020-20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90" name="Chart 89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17360820"/>
              </p:ext>
            </p:extLst>
          </p:nvPr>
        </p:nvGraphicFramePr>
        <p:xfrm>
          <a:off x="1147763" y="2619375"/>
          <a:ext cx="8431212" cy="3143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29" name="Rectangle 28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3503613" y="4827588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F2034FB-FFF2-4BEF-A862-3DF2256D8C11}" type="datetime'''''''''1'''''''''''''''''''',''''7''''''''0''''''''''''''0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7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3" name="Rectangle 82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111375" y="2624138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EA81902-7F42-4318-80D6-EA0CC37646DD}" type="datetime'''''6''''''''''''.''''6''''''''''''%'''''''''''''''">
              <a:rPr lang="en-US" altLang="en-US" sz="10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lvl="0" algn="ctr">
                <a:spcAft>
                  <a:spcPct val="0"/>
                </a:spcAft>
                <a:defRPr/>
              </a:pPr>
              <a:t>6.6%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15" name="Rectangle 14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193925" y="4194175"/>
            <a:ext cx="139700" cy="133350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4F80D53-B5F7-4559-B5F2-DF667CF4709C}" type="datetime'''5''''0''''''''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5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3489325" y="26400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BB68B5D-64CE-4AD3-B2E8-C9C8EDA78263}" type="datetime'''''''6''''''''''''''.6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6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1422400" y="26400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5E94233-273B-4C0B-8EC1-055F61F299EB}" type="datetime'''''''''''''''6''''''''''''.''''''''''''''''''''''''6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6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8345488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4D98A82-F53A-48EC-94E3-8BB20E29B620}" type="datetime'''''''2''''''0''''''''''''''''''''''''''''''2''''9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9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4922838" y="3735388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9FEBD59-8561-49D8-892B-AD0134ED2112}" type="datetime'''2''''''''''''''''''5''''''''''''''''''0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5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4213225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B3049D8-BAF7-4370-ACEB-3F8F6265BD82}" type="datetime'''''''''2''''''''''0''''''''''''''''''2''''''''''3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3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" name="Rectangle 1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1533525" y="4314825"/>
            <a:ext cx="84138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F82B006-3C6F-4D0B-BF7A-F7DB645ECBAF}" type="datetime'''''''''''''''''''''''''''''''''''''''1'">
              <a:rPr lang="en-US" altLang="en-US" sz="800" b="1" smtClean="0">
                <a:solidFill>
                  <a:srgbClr val="FFFFFF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2800350" y="26400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CA2166D-9AC1-4F93-822F-5472DDA7D352}" type="datetime'''''''''''''''''''''''6''''''''''''''''.6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6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8" name="Rectangle 17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1436688" y="4967288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AD51131-C4F4-4FC0-BA3E-2FB184ACC413}" type="datetime'1'''''''''',''''''4''''''''''''''''00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4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4846638" y="350202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DFDF847-5105-4CA2-8C0F-947397E5372C}" type="datetime'''''2,''''''''''''''''''''1''''''''5''''''''''0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15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1457325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20ADE8-9339-4367-A7B5-05721C20C669}" type="datetime'''''2''''''''''''''''''0''''''''''''''''''''1''''''''''9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9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2090738" y="4025900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5DE88CD-AAA7-41CE-8C9A-4908EF750ABD}" type="datetime'''''''1,''''''5''''''''''''''''''''''''''5''''''''''0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55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19" name="Rectangle 18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2125663" y="4914900"/>
            <a:ext cx="2778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4C83F6B-5E0B-4157-8345-EA9108CD31A4}" type="datetime'''''''''''1'''''''''''',''''''''5''''''''''0''''0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5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8324850" y="4502150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D900691-708D-44F4-B045-C945CD3E67AE}" type="datetime'2'''',''''''''''''''4''''''''0''''''''''0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4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2146300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452547-61A6-4E46-91CA-A63371423982}" type="datetime'2''''''0''''''''2''''''''''''''''''''0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0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8366125" y="3152775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7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6859948-D68D-4D7A-BE3B-5B49DE6CD85E}" type="datetime'''''''''''''''''5''0''''''''''''''0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5589588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CB955E8-DE78-4CAE-AF77-F687F501E968}" type="datetime'''''''''''''''''''''2''''''''''''''0''''''2''''5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2855913" y="4083050"/>
            <a:ext cx="195263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B98ADBB-6A90-4003-8337-CE454AA9B245}" type="datetime'''''''''''''''''''''''1''''''''''''''00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2814638" y="4875213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3D22C5C-B634-4546-823A-193FCDF08DB3}" type="datetime'''''''''''''''''''''''''1,''''6''''''''''''0''''''''''''''0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6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2835275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4C227A6-A41C-4528-88E8-D7DDAA106CC7}" type="datetime'''''''''''''''''''''2''''''''''''''''0''''''''2''''''''''1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1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 useBgFill="1">
        <p:nvSpPr>
          <p:cNvPr id="20" name="Rectangle 19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8077200" y="2803525"/>
            <a:ext cx="347663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77A4C44-9A5D-49B9-8A7D-5D919E6B3EDE}" type="datetime'2'''''''''''''''',''''9''0''''''''''''''''''0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9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3544888" y="3967163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7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039F788-2BF5-485A-A874-DDB8DC4CCA75}" type="datetime'''''''''''''''''''''''''''''1''''''''''''''''''''''''5''''0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5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3524250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07023C5-829F-4805-B923-5672153B9755}" type="datetime'''''''''''''''2''''''''''''0''''''''''''''''''''''''2''2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2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4178300" y="26400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8D3D253-C9D3-4BFD-844D-434F26526E97}" type="datetime'''''''''''6''.''''6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6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6278563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07C662A-8396-4AB6-BA4F-83118A3BE854}" type="datetime'''''2''''''''''''''''0''''''''''''''''2''''''''''''6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4233863" y="3851275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7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AFCB708-F924-4962-9D72-4A6F59DBB8FC}" type="datetime'''''''''''''2''''0''''''''0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7" name="Rectangle 16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6911975" y="308292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86FF3ED-F472-4A1D-9DD2-4DECC3668707}" type="datetime'''2'',''''''''''''''60''''''''''''''0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6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4192588" y="4781550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262385A-3E5C-4290-99BD-F250A1585E13}" type="datetime'''''''''''''1'''''''''''',''8''''''''''0''''''''''''0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8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4867275" y="26400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B49B305-9BA3-4996-BC18-18C4E203A03F}" type="datetime'''''6.''''''''''''''''''''''''''''''''''6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6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4881563" y="4735513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ACC7ED2-3092-42D8-9D2F-4808DBC1BB9B}" type="datetime'''''1'''''''',''''''''''''''''''''''''''''''9''0''0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9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4902200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F3CCD4-3BA8-4FB5-BE23-76A7F9A3F63E}" type="datetime'''''''''''''2''''''''''''0''''2''4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5554663" y="26400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F0A1BE8-68E5-497C-836A-E91698E6065F}" type="datetime'''''''''''''''''''''''''6''''''''''''.''''''''''6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6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1401763" y="416242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E0D4C61-5601-4770-8CF3-9455F0E49243}" type="datetime'''''''''''''''''''''''''''1,''''4''''''0''''''''''''1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401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5526088" y="3557588"/>
            <a:ext cx="3635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7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9CDE98E-4B23-4F0A-B167-B43BC7A50FD7}" type="datetime'''''''''''''''''''''''3''0''''''''''''''''0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00</a:t>
            </a:fld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/>
            </a:r>
            <a:b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</a:br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fld id="{D14DF712-A82B-4942-845E-61AD9AB4A10C}" type="datetime'1''''''''3''''''.''''''''0''''''''''''''''''''''''''''''''%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3.0%</a:t>
            </a:fld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)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5568950" y="4683125"/>
            <a:ext cx="2778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F205445-4515-41F3-A192-74F62D8059B8}" type="datetime'''''''2'''',''''''''''''''''''''''''0''''''''''''''0''''0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,0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8310563" y="26400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4018612-4A5B-4E04-A152-2FDF124747BB}" type="datetime'''''''''''''''''''''6''''.''''''''''''''''''''6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6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6243638" y="26400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F040A58-9609-4970-A645-0A8C5CFF0F8E}" type="datetime'''''''''6.6''''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6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9013825" y="4456113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49160EA-33BB-4C9F-A6CC-781D018E1426}" type="datetime'''''''''''''2'''''''''''''''''',''50''''''''0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5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7635875" y="454977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42E2CC5-143A-4815-8D37-25E222F22E66}" type="datetime'''''''''''''''''''2'',3''''''''0''0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3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6299200" y="3502025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4A4E145-6F1F-4281-9846-02C15E267522}" type="datetime'3''''''''''''''5''0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5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6257925" y="4641850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A09D6CB-5BFB-4332-9846-7609B800C3CB}" type="datetime'2'',''''''''10''''''0''''''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1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8970963" y="2974975"/>
            <a:ext cx="3635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0421187-C7E6-4356-985B-C0F9315B2C25}" type="datetime'55''''0''''''''''''''''''''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50</a:t>
            </a:fld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/>
            </a:r>
            <a:b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</a:br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fld id="{CD00B610-3D9B-4DC9-AE7E-27131611EB0B}" type="datetime'''''1''''''''8''''''''''.0''''''''%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8.0%</a:t>
            </a:fld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)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6932613" y="26400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E30D4F2-2DEE-47BB-8EFA-04B475D70A34}" type="datetime'''''''''6''.''''''''6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6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6988175" y="3386138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313A168-EA37-47D1-A2B1-FD85EAE29C93}" type="datetime'40''''0''''''''''''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6946900" y="4595813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9525AC3-4A08-4818-8CC6-59DAC80B4540}" type="datetime'''''''''''2'',''''''''''2''''''''''''0''''''0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2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7677150" y="3270250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5ED2216-B284-4A58-9B2E-7CA8436EEA7F}" type="datetime'''''''''''''''4''5''''''''''''''''''''''''''''''''0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5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auto">
          <a:xfrm>
            <a:off x="6967538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36A238-F014-4DCD-B76E-992286F4F6AB}" type="datetime'''20''''''''''''''27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7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gray">
          <a:xfrm>
            <a:off x="7621588" y="26400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3C2A517-1A7B-4AD9-8D33-FFFDA327A98B}" type="datetime'''''''''''''''''''''''''''''''''''''6''''''''''''''''''.6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6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auto">
          <a:xfrm>
            <a:off x="7656513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2638F85-5364-4492-AA07-E5872AA99943}" type="datetime'''''''''''2''''''0''''''''''2''''''8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8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8999538" y="26400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30CD12A-3F6D-440C-92A0-E6DA7A9F4637}" type="datetime'''6''.''6''''''''''''''''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6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gray">
          <a:xfrm>
            <a:off x="5534025" y="336232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FA3DBB7-D2D8-4D64-96C9-7B0201494BE0}" type="datetime'''2'''''''''''''',''''''''3''0''''''0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3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auto">
          <a:xfrm>
            <a:off x="9034463" y="5713413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A0427FB-3C8A-4011-B704-14A214B04D85}" type="datetime'''''''''''2''''''''''''0''''3''''''''''''''''0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2779713" y="39195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4DAB055-EC64-45E0-9866-C2F1224953EC}" type="datetime'''1'''''''',''''''''7''''''0''''''''''''''''''0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7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3468688" y="37798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82059DD-8BD8-46A2-AC6F-B2E274D1C3FC}" type="datetime'''''''''''''1,''''''''''8''''5''''''''''''0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85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4157663" y="364172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4BD3633-A29B-4014-8982-2404BCA18ABB}" type="datetime'2'''''''''',0''''''''''''0''''''''0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0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6223000" y="322262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56B81A2-0557-4349-8331-A37A53A07D93}" type="datetime'''''''''''2,''''''45''''''''''''''''''''''0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45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gray">
          <a:xfrm>
            <a:off x="7600950" y="294322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46F2C6C-B6A6-4D43-BA7C-AC50CEBBAA66}" type="datetime'''''''2,''''''''''''7''''''''50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75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8978900" y="2487613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E4AC183-CE57-4ED7-AFDA-1466D4D41A24}" type="datetime'''''''3,''''''''''''''''''''0''''''50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,05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cxnSp>
        <p:nvCxnSpPr>
          <p:cNvPr id="69" name="Straight Connector 68"/>
          <p:cNvCxnSpPr/>
          <p:nvPr>
            <p:custDataLst>
              <p:tags r:id="rId65"/>
            </p:custDataLst>
          </p:nvPr>
        </p:nvCxnSpPr>
        <p:spPr bwMode="auto">
          <a:xfrm>
            <a:off x="447675" y="3594100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1" name="Rectangle 70"/>
          <p:cNvSpPr/>
          <p:nvPr>
            <p:custDataLst>
              <p:tags r:id="rId66"/>
            </p:custDataLst>
          </p:nvPr>
        </p:nvSpPr>
        <p:spPr bwMode="auto">
          <a:xfrm>
            <a:off x="477838" y="3887788"/>
            <a:ext cx="142875" cy="106363"/>
          </a:xfrm>
          <a:prstGeom prst="rect">
            <a:avLst/>
          </a:prstGeom>
          <a:solidFill>
            <a:srgbClr val="C0D9E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0" name="Rectangle 69"/>
          <p:cNvSpPr/>
          <p:nvPr>
            <p:custDataLst>
              <p:tags r:id="rId67"/>
            </p:custDataLst>
          </p:nvPr>
        </p:nvSpPr>
        <p:spPr bwMode="auto">
          <a:xfrm>
            <a:off x="477838" y="3714750"/>
            <a:ext cx="142875" cy="106363"/>
          </a:xfrm>
          <a:prstGeom prst="rect">
            <a:avLst/>
          </a:prstGeom>
          <a:solidFill>
            <a:srgbClr val="007770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2" name="Oval 71"/>
          <p:cNvSpPr/>
          <p:nvPr>
            <p:custDataLst>
              <p:tags r:id="rId68"/>
            </p:custDataLst>
          </p:nvPr>
        </p:nvSpPr>
        <p:spPr bwMode="auto">
          <a:xfrm>
            <a:off x="493713" y="3568700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auto">
          <a:xfrm>
            <a:off x="671513" y="3536950"/>
            <a:ext cx="2190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966FAF-D5A8-4B33-BE9B-741CCF618F5F}" type="datetime'M''''''''''''''''''''''''''''S''''''''''''''''''%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l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MS%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auto">
          <a:xfrm>
            <a:off x="671513" y="3709988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C744EC7-2293-473F-97E3-06C8268B9D19}" type="datetime'''''''''''''N''''''''''''E''''''''V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l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NEV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auto">
          <a:xfrm>
            <a:off x="671513" y="3883025"/>
            <a:ext cx="138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829D29B-151D-41B2-B8AE-4EC31DDF71F4}" type="datetime'''''''''''I''''''''''C''''''''E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l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ICE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graphicFrame>
        <p:nvGraphicFramePr>
          <p:cNvPr id="76" name="Table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7512554"/>
              </p:ext>
            </p:extLst>
          </p:nvPr>
        </p:nvGraphicFramePr>
        <p:xfrm>
          <a:off x="392113" y="5731459"/>
          <a:ext cx="9122228" cy="6858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32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S%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T="9525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19A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EV MKT%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0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0.2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0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0.2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0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0.2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0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0.2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0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0.2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0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0.2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900" b="1" baseline="0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ICE MKT%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5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.1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5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.1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5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.1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5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.1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5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.1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5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.1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0" name="TextBox 79"/>
          <p:cNvSpPr txBox="1"/>
          <p:nvPr/>
        </p:nvSpPr>
        <p:spPr>
          <a:xfrm>
            <a:off x="393795" y="3018339"/>
            <a:ext cx="655984" cy="369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408798" y="6435401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90546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8112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1754" name="think-cell Slide" r:id="rId48" imgW="470" imgH="469" progId="TCLayout.ActiveDocument.1">
                  <p:embed/>
                </p:oleObj>
              </mc:Choice>
              <mc:Fallback>
                <p:oleObj name="think-cell Slide" r:id="rId48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1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sym typeface="VWAG TheSans" panose="020B0502050302020203" pitchFamily="34" charset="0"/>
              </a:rPr>
              <a:t>FAW-VW </a:t>
            </a:r>
            <a:r>
              <a:rPr lang="en-US" dirty="0" smtClean="0">
                <a:sym typeface="VWAG TheSans" panose="020B0502050302020203" pitchFamily="34" charset="0"/>
              </a:rPr>
              <a:t>Jetta PR69.OP </a:t>
            </a:r>
            <a:r>
              <a:rPr lang="en-US" dirty="0">
                <a:sym typeface="VWAG TheSans" panose="020B0502050302020203" pitchFamily="34" charset="0"/>
              </a:rPr>
              <a:t>Volume Planning 2020-20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64" name="Chart 6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24396027"/>
              </p:ext>
            </p:extLst>
          </p:nvPr>
        </p:nvGraphicFramePr>
        <p:xfrm>
          <a:off x="1147763" y="2630488"/>
          <a:ext cx="8431212" cy="3143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10" name="Rectangle 9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00350" y="491807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5C8E40E-C5B9-4B25-8C1A-1419CED5E8E7}" type="datetime'''''''''''''''''''''''''''''''2.''''''0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 useBgFill="1">
        <p:nvSpPr>
          <p:cNvPr id="11" name="Rectangle 10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216025" y="5386388"/>
            <a:ext cx="304800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  <a:defRPr/>
            </a:pPr>
            <a:fld id="{F0224C71-CB83-4265-894F-CE8B13A58E43}" type="datetime'''0''''''.''''''''''''''1'''''''''''''''''">
              <a:rPr lang="en-US" altLang="en-US" sz="1000" b="1" smtClean="0">
                <a:solidFill>
                  <a:srgbClr val="000000"/>
                </a:solidFill>
              </a:rPr>
              <a:pPr lvl="0">
                <a:lnSpc>
                  <a:spcPct val="100000"/>
                </a:lnSpc>
                <a:spcAft>
                  <a:spcPct val="0"/>
                </a:spcAft>
                <a:defRPr/>
              </a:pPr>
              <a:t>0.1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528763" y="53308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8204D39-F823-4088-AC9D-96C48CBDE844}" type="datetime'''''''4''''''''''''''''''''''''''''''''''''''''''''''''0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457325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20ADE8-9339-4367-A7B5-05721C20C669}" type="datetime'''''2''''''''''''''''''0''''''''''''''''''''1''''''''''9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9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8345488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4D98A82-F53A-48EC-94E3-8BB20E29B620}" type="datetime'''''''2''''''0''''''''''''''''''''''''''''''2''''9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9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2835275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4C227A6-A41C-4528-88E8-D7DDAA106CC7}" type="datetime'''''''''''''''''''''2''''''''''''''''0''''''''2''''''''''1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1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3" name="Rectangle 8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111375" y="5172075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3AEBCF0-CCA1-4EF8-9A2E-F7DB6F084445}" type="datetime'''''''''1.''''''''''''''''''''''''''''0''''''''''%'''''''''">
              <a:rPr lang="en-US" altLang="en-US" sz="10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lvl="0" algn="ctr">
                <a:spcAft>
                  <a:spcPct val="0"/>
                </a:spcAft>
                <a:defRPr/>
              </a:pPr>
              <a:t>1.0%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2146300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452547-61A6-4E46-91CA-A63371423982}" type="datetime'2''''''0''''''''2''''''''''''''''''''0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0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3524250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07023C5-829F-4805-B923-5672153B9755}" type="datetime'''''''''''''''2''''''''''''0''''''''''''''''''''''''2''2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2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4178300" y="437673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C2183DA-94A9-40DE-BFD8-E8B86E43A9F7}" type="datetime'''''''''4''''''''''''''''''''''''''''''''''''''''''''.0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4213225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B3049D8-BAF7-4370-ACEB-3F8F6265BD82}" type="datetime'''''''''2''''''''''0''''''''''''''''''2''''''''''3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3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4867275" y="410527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F4F8FD6-A06B-419B-8DB4-947B72190250}" type="datetime'5''''''''''.''''''''''''''''''''0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6273800" y="50101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103FE69-E2A4-4565-AFB7-8A329DC4BAC6}" type="datetime'''''''''''1''1''''''''''''''''''''''''''''''''''''''''''''0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1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4902200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F3CCD4-3BA8-4FB5-BE23-76A7F9A3F63E}" type="datetime'''''''''''''2''''''''''''0''''2''4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5554663" y="38354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38A2B98-7189-457F-A7CF-9297621FC628}" type="datetime'''''''''''6''''''''''''''''''''''''''''.''''''''''''''0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7656513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2638F85-5364-4492-AA07-E5872AA99943}" type="datetime'''''''''''2''''''0''''''''''2''''''8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8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5589588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CB955E8-DE78-4CAE-AF77-F687F501E968}" type="datetime'''''''''''''''''''''2''''''''''''''0''''''2''''5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3489325" y="46466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7B8A85D-73F9-4621-B8F4-B70A4521BC33}" type="datetime'''''''''''''''''''''''''''''''3''''''.''''''''0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6278563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07C662A-8396-4AB6-BA4F-83118A3BE854}" type="datetime'''''2''''''''''''''''0''''''''''''''''2''''''''''''6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6932613" y="329406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35E97F4-6C76-4B79-9728-70510745D90D}" type="datetime'''''''''''''8''''.''''''''''''''''''0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8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6967538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36A238-F014-4DCD-B76E-992286F4F6AB}" type="datetime'''20''''''''''''''27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7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8275638" y="27527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C4FE738-7B32-4B37-A958-FD8BCE1D876D}" type="datetime'''''''''''''10''''.''''''''''''''''''''0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621588" y="30226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B9B9562-EF1D-4740-997F-E242A71F2FC9}" type="datetime'''''''''''9''''''''.''''''0''''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9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8964613" y="2481263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0F000C5-BD28-4890-A39F-365B08D4EEAF}" type="datetime'1''''''''''''''''''''''''1''''''.''''''''''0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1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9034463" y="5724525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A0427FB-3C8A-4011-B704-14A214B04D85}" type="datetime'''''''''''2''''''''''''0''''3''''''''''''''''0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1935163" y="5268913"/>
            <a:ext cx="1746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5C81B89-A58D-46E0-B131-34306D2C7098}" type="datetime'''''''''''''''''''''''''''''''''5''''''''''''''''''0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5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2865438" y="52387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1B6AD3F-77DC-473B-BD58-D9D9E9950C0C}" type="datetime'''''''''''''''6''''0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3554413" y="51927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7AC8399-CB66-4BAA-B88B-43DD7198EEFA}" type="datetime'''''7''''''''''''''''''''''0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7" name="Rectangle 16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6962775" y="496411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762C4FF-9D41-4769-A698-20FA4456CCE2}" type="datetime'''''''''''''1''''''2''0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2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4243388" y="51466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9282FFC-3DCB-4589-B0A7-BC46CF0621B0}" type="datetime'''''''''''''8''''''''''''''''''''''''0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8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4932363" y="51006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27BEB80-5C3B-440C-9EAC-E098E1C74754}" type="datetime'''9''''''''''''''''''''''''''''''''''''''0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9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9029700" y="48260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DFAC69F-5C7F-48DB-970C-E3372D3E1066}" type="datetime'''1''''''''5''''''''''''''''''''''0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5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5584825" y="50546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199E3BE-A8BF-4D46-BB3B-417F9C2BAAC0}" type="datetime'''''''1''''''''''''''''''0''''0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7651750" y="491807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41DBE40-4E3B-45A3-9EEA-170F7CF2AD8A}" type="datetime'''''''''''''1''''''''''''''''3''''0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3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8340725" y="48720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88880CE-29CE-47CD-A002-4DE276985554}" type="datetime'''''1''''''''''''''''''''''''''''''4''''''0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4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6243638" y="356393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0EC8283-93EB-47B7-961F-F44CB582D10B}" type="datetime'''''''''''''''''''7''''''''''''.''''''0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1" name="Rectangle 70"/>
          <p:cNvSpPr/>
          <p:nvPr>
            <p:custDataLst>
              <p:tags r:id="rId41"/>
            </p:custDataLst>
          </p:nvPr>
        </p:nvSpPr>
        <p:spPr bwMode="auto">
          <a:xfrm>
            <a:off x="317500" y="3714750"/>
            <a:ext cx="142875" cy="106363"/>
          </a:xfrm>
          <a:prstGeom prst="rect">
            <a:avLst/>
          </a:prstGeom>
          <a:solidFill>
            <a:srgbClr val="C0D9E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69" name="Straight Connector 68"/>
          <p:cNvCxnSpPr/>
          <p:nvPr>
            <p:custDataLst>
              <p:tags r:id="rId42"/>
            </p:custDataLst>
          </p:nvPr>
        </p:nvCxnSpPr>
        <p:spPr bwMode="auto">
          <a:xfrm>
            <a:off x="287338" y="3594100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2" name="Oval 71"/>
          <p:cNvSpPr/>
          <p:nvPr>
            <p:custDataLst>
              <p:tags r:id="rId43"/>
            </p:custDataLst>
          </p:nvPr>
        </p:nvSpPr>
        <p:spPr bwMode="auto">
          <a:xfrm>
            <a:off x="333375" y="3568700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511175" y="3709988"/>
            <a:ext cx="138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829D29B-151D-41B2-B8AE-4EC31DDF71F4}" type="datetime'''''''''''I''''''''''C''''''''E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l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ICE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511175" y="3536950"/>
            <a:ext cx="3794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  <a:defRPr/>
            </a:pPr>
            <a:fld id="{655EB6BC-12AB-45D9-A647-D32E936EAC97}" type="datetime'ICE'' ''''''''''''''''''''''''''''''''''M''''S''%'''''''''">
              <a:rPr lang="en-US" altLang="en-US" sz="800" b="1" smtClean="0">
                <a:solidFill>
                  <a:srgbClr val="000000"/>
                </a:solidFill>
              </a:rPr>
              <a:pPr lvl="0">
                <a:lnSpc>
                  <a:spcPct val="100000"/>
                </a:lnSpc>
                <a:spcAft>
                  <a:spcPct val="0"/>
                </a:spcAft>
                <a:defRPr/>
              </a:pPr>
              <a:t>ICE MS%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graphicFrame>
        <p:nvGraphicFramePr>
          <p:cNvPr id="76" name="Table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2640519"/>
              </p:ext>
            </p:extLst>
          </p:nvPr>
        </p:nvGraphicFramePr>
        <p:xfrm>
          <a:off x="392113" y="5731459"/>
          <a:ext cx="9122228" cy="4572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32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S%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T="9525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19A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ICE MKT%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effectLst/>
                          <a:latin typeface="+mj-lt"/>
                        </a:rPr>
                        <a:t>0.1%</a:t>
                      </a:r>
                      <a:endParaRPr lang="en-US" sz="900" b="0" i="0" u="none" strike="noStrike" dirty="0"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effectLst/>
                          <a:latin typeface="+mj-lt"/>
                        </a:rPr>
                        <a:t>1.0%</a:t>
                      </a:r>
                      <a:endParaRPr lang="en-US" sz="900" b="0" i="0" u="none" strike="noStrike" dirty="0"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effectLst/>
                          <a:latin typeface="+mj-lt"/>
                        </a:rPr>
                        <a:t>2.0</a:t>
                      </a:r>
                      <a:r>
                        <a:rPr lang="en-US" sz="900" b="0" i="0" u="none" strike="noStrike" dirty="0"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effectLst/>
                          <a:latin typeface="+mj-lt"/>
                        </a:rPr>
                        <a:t>3.0</a:t>
                      </a:r>
                      <a:r>
                        <a:rPr lang="en-US" sz="900" b="0" i="0" u="none" strike="noStrike" dirty="0"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effectLst/>
                          <a:latin typeface="+mj-lt"/>
                        </a:rPr>
                        <a:t>4.0</a:t>
                      </a:r>
                      <a:r>
                        <a:rPr lang="en-US" sz="900" b="0" i="0" u="none" strike="noStrike" dirty="0"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effectLst/>
                          <a:latin typeface="+mj-lt"/>
                        </a:rPr>
                        <a:t>5.0</a:t>
                      </a:r>
                      <a:r>
                        <a:rPr lang="en-US" sz="900" b="0" i="0" u="none" strike="noStrike" dirty="0"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effectLst/>
                          <a:latin typeface="+mj-lt"/>
                        </a:rPr>
                        <a:t>6.0</a:t>
                      </a:r>
                      <a:r>
                        <a:rPr lang="en-US" sz="900" b="0" i="0" u="none" strike="noStrike" dirty="0"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effectLst/>
                          <a:latin typeface="+mj-lt"/>
                        </a:rPr>
                        <a:t>7.0</a:t>
                      </a:r>
                      <a:r>
                        <a:rPr lang="en-US" sz="900" b="0" i="0" u="none" strike="noStrike" dirty="0"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effectLst/>
                          <a:latin typeface="+mj-lt"/>
                        </a:rPr>
                        <a:t>8.0</a:t>
                      </a:r>
                      <a:r>
                        <a:rPr lang="en-US" sz="900" b="0" i="0" u="none" strike="noStrike" dirty="0"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effectLst/>
                          <a:latin typeface="+mj-lt"/>
                        </a:rPr>
                        <a:t>9.0</a:t>
                      </a:r>
                      <a:r>
                        <a:rPr lang="en-US" sz="900" b="0" i="0" u="none" strike="noStrike" dirty="0"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effectLst/>
                          <a:latin typeface="+mj-lt"/>
                        </a:rPr>
                        <a:t>10.0</a:t>
                      </a:r>
                      <a:r>
                        <a:rPr lang="en-US" sz="900" b="0" i="0" u="none" strike="noStrike" dirty="0"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effectLst/>
                          <a:latin typeface="+mj-lt"/>
                        </a:rPr>
                        <a:t>11.0</a:t>
                      </a:r>
                      <a:r>
                        <a:rPr lang="en-US" sz="900" b="0" i="0" u="none" strike="noStrike" dirty="0"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0" name="TextBox 79"/>
          <p:cNvSpPr txBox="1"/>
          <p:nvPr/>
        </p:nvSpPr>
        <p:spPr>
          <a:xfrm>
            <a:off x="393795" y="3018339"/>
            <a:ext cx="655984" cy="369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408798" y="6435401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72496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289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lang="en-US" sz="20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012175" y="1759814"/>
            <a:ext cx="5882779" cy="4086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Total Marke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411132" y="1759814"/>
            <a:ext cx="422030" cy="4086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1</a:t>
            </a: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1012175" y="2350542"/>
            <a:ext cx="5882779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</a:t>
            </a:r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FAW-VW</a:t>
            </a:r>
            <a:endParaRPr lang="en-US" altLang="zh-CN" sz="1800" b="1" dirty="0">
              <a:solidFill>
                <a:srgbClr val="FFFFFF"/>
              </a:solidFill>
              <a:latin typeface="VWAG TheSans"/>
              <a:sym typeface="VWAG TheSans"/>
            </a:endParaRP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411132" y="2350542"/>
            <a:ext cx="422030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2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012175" y="2942380"/>
            <a:ext cx="5882779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</a:t>
            </a:r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– FAW-VW VW + Jetta</a:t>
            </a:r>
            <a:endParaRPr lang="en-US" altLang="zh-CN" sz="1800" b="1" dirty="0">
              <a:solidFill>
                <a:srgbClr val="FFFFFF"/>
              </a:solidFill>
              <a:latin typeface="VWAG TheSans"/>
              <a:sym typeface="VWAG TheSans"/>
            </a:endParaRP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411132" y="2942380"/>
            <a:ext cx="422030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3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1012175" y="3534218"/>
            <a:ext cx="5882779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PR69.OP Volume Plan –  FAW-VW </a:t>
            </a:r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Audi CKD</a:t>
            </a:r>
            <a:endParaRPr lang="en-US" altLang="zh-CN" sz="1800" b="1" dirty="0">
              <a:solidFill>
                <a:srgbClr val="FFFFFF"/>
              </a:solidFill>
              <a:latin typeface="VWAG TheSans"/>
              <a:sym typeface="VWAG TheSans"/>
            </a:endParaRPr>
          </a:p>
        </p:txBody>
      </p:sp>
      <p:sp>
        <p:nvSpPr>
          <p:cNvPr id="24" name="Rectangle 4"/>
          <p:cNvSpPr>
            <a:spLocks noChangeArrowheads="1"/>
          </p:cNvSpPr>
          <p:nvPr/>
        </p:nvSpPr>
        <p:spPr bwMode="auto">
          <a:xfrm>
            <a:off x="411132" y="3534218"/>
            <a:ext cx="422030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4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br>
              <a:rPr lang="en-US" dirty="0"/>
            </a:br>
            <a:endParaRPr lang="en-US" dirty="0"/>
          </a:p>
        </p:txBody>
      </p:sp>
      <p:sp>
        <p:nvSpPr>
          <p:cNvPr id="2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24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2732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3075" name="think-cell Slide" r:id="rId48" imgW="470" imgH="469" progId="TCLayout.ActiveDocument.1">
                  <p:embed/>
                </p:oleObj>
              </mc:Choice>
              <mc:Fallback>
                <p:oleObj name="think-cell Slide" r:id="rId48" imgW="470" imgH="469" progId="TCLayout.ActiveDocument.1">
                  <p:embed/>
                  <p:pic>
                    <p:nvPicPr>
                      <p:cNvPr id="33" name="Object 3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solidFill>
                  <a:srgbClr val="003366"/>
                </a:solidFill>
                <a:sym typeface="VWAG TheSans" panose="020B0502050302020203" pitchFamily="34" charset="0"/>
              </a:rPr>
              <a:t>FAW-VW </a:t>
            </a:r>
            <a:r>
              <a:rPr lang="de-DE" dirty="0" smtClean="0">
                <a:solidFill>
                  <a:srgbClr val="003366"/>
                </a:solidFill>
                <a:sym typeface="VWAG TheSans" panose="020B0502050302020203" pitchFamily="34" charset="0"/>
              </a:rPr>
              <a:t>NEV </a:t>
            </a:r>
            <a:r>
              <a:rPr lang="en-US" dirty="0" smtClean="0">
                <a:sym typeface="VWAG TheSans" panose="020B0502050302020203" pitchFamily="34" charset="0"/>
              </a:rPr>
              <a:t>PR69.OP </a:t>
            </a:r>
            <a:r>
              <a:rPr lang="en-US" dirty="0">
                <a:sym typeface="VWAG TheSans" panose="020B0502050302020203" pitchFamily="34" charset="0"/>
              </a:rPr>
              <a:t>Volume Planning 2020-20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87" name="Chart 86"/>
          <p:cNvGraphicFramePr/>
          <p:nvPr>
            <p:custDataLst>
              <p:tags r:id="rId4"/>
            </p:custDataLst>
            <p:extLst/>
          </p:nvPr>
        </p:nvGraphicFramePr>
        <p:xfrm>
          <a:off x="1143000" y="2249488"/>
          <a:ext cx="8435975" cy="326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51" name="Rectangle 50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3492500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6904E4-2E7D-42C3-96F3-22A0B69887BF}" type="datetime'''''''''''''''''''''''''''''''20''2''''''''2''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2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6937375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0DA44C2-1E8C-4C31-98EB-6F7A6F997253}" type="datetime'20''''''''''''''''''''''''''''2''''''''''''''''''''7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7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795588" y="233838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AC73A74-1560-415D-B551-6C0701A47A34}" type="datetime'''''''''''''''''''''''''8.3%''''''''''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8.3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417638" y="4057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C55A044-1F74-4436-B6CD-98E83DA2F954}" type="datetime'''''3''''''''''''''''''''''''''.''''''''''''3''''''%''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.3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6272213" y="437197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14CAEE4-1985-407A-85FA-DF89E8114C8C}" type="datetime'''''''''''''''''''''''''''4''''''''''''2''''''6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26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8999538" y="3354388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78593FC-DB26-4CEA-8690-048D49172DF6}" type="datetime'''''''5''''''''''''''''''''.3''''%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spcAft>
                  <a:spcPct val="0"/>
                </a:spcAft>
                <a:defRPr/>
              </a:pPr>
              <a:t>5.3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423988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DC555D-75C8-4075-B3A7-F155604256C4}" type="datetime'''''''''''''''''''''''''''''''''''2''019''''''''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2801938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7792743-77A7-486E-A8C5-94B87944C873}" type="datetime'2''''''0''''''''''''''''''''''2''''''1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1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 useBgFill="1">
        <p:nvSpPr>
          <p:cNvPr id="39" name="Rectangle 38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2106613" y="3697288"/>
            <a:ext cx="30480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4419C9C-9F71-4160-A29F-EB39ECFF90A6}" type="datetime'4''''.''3''''''''''''''''''''''''''''%'''''">
              <a:rPr lang="en-US" altLang="en-US" sz="10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lvl="0" algn="ctr">
                <a:spcAft>
                  <a:spcPct val="0"/>
                </a:spcAft>
                <a:defRPr/>
              </a:pPr>
              <a:t>4.3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7627938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CEEE84-0EED-46DF-9ECC-E2A2CA44AD1D}" type="datetime'2''''''''''''''''''''''''''0''2''''''''''''''''''8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8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 useBgFill="1">
        <p:nvSpPr>
          <p:cNvPr id="42" name="Rectangle 41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3486150" y="2957513"/>
            <a:ext cx="304800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135B3E0-FA18-4156-9A7B-326FC6111ECE}" type="datetime'''''''''''''''''6''''''''.''''''''''''5%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5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2112963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4972B52-CA4A-4771-8A8E-3170475E3563}" type="datetime'''2''''''''''''''''''''''''''''''0''''''''''2''0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0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4175125" y="278447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9FDAE13-C9BC-490E-955F-B4EF5A33F3CD}" type="datetime'''''''7''''''''''''''''''.''''''0''''%''''''''''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.0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9029700" y="3803650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06B43399-4777-4F0C-8E05-DF7901854BD3}" type="datetime'''6''''''''''''''''''''''''9''''''''''''''''''''''3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spcAft>
                  <a:spcPct val="0"/>
                </a:spcAft>
                <a:defRPr/>
              </a:pPr>
              <a:t>693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4181475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8C146DF-0F40-456D-BC80-3A28707C0258}" type="datetime'''''''''2''''''''''''''''0''''''''2''''''''''''''3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3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4864100" y="275113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0715CBF-76DA-4435-80DE-AD02A2A32A96}" type="datetime'''''7''''''.''''''''''''''''''''''''''''''''1%''''''''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.1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4870450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923BA03-0CC9-44E0-A944-C394AB7620B7}" type="datetime'''''2''''''''''''''''''0''''''''2''''4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6961188" y="42243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0808976-E55B-4213-A1F8-DCB63DF7C12E}" type="datetime'''''4''''''''''''''''9''''''''''7''''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97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5559425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21C013D-A6F6-4E76-BBE0-9E3FAC926FFF}" type="datetime'2''''''''''''''''0''''''''25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6242050" y="326707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DBFB047-B8E3-41C7-8740-B3E905992991}" type="datetime'''''''''5''''''''''.''''''''6''''%''''''''''''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6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6248400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A753E98-D0D7-4DDD-9DBB-B6956B0B7AC3}" type="datetime'''''''''''''''''''2''''''02''''''''''6''''''''''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6931025" y="333533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A655DFC-07B1-4497-9A2E-1CA08B08F594}" type="datetime'5''''''''.''''''''''''''''4''''''''''%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4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621588" y="33004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71DFA67-BF09-428C-857E-71C07840C0BD}" type="datetime'''''''''''''''''''5''.''''''''''5''''''''%''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5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8310563" y="337026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D42093E-4E2D-4F95-8277-6856D23CD23C}" type="datetime'''''''''''''5''.''''''''3''%''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3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8316913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E9C2172-B609-48DC-8E92-EBD21802F01A}" type="datetime'2''''''''''''''''0''''''''''''''''''''''2''''''9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9005888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77E817D-8C93-4FBA-ACE4-7EF979B8B551}" type="datetime'''''''''''''''''2''''''0''''''3''''''0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1482725" y="51752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311E82B-7770-4F5F-B15E-7C639CC3E69A}" type="datetime'''''''''''''''''''''''''''''''3''''''''''''6''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6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2171700" y="5140325"/>
            <a:ext cx="1746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023F4014-7231-4709-B912-DCEB5490A0E8}" type="datetime'''''''''''''''''''''4''''''''''''''''''''''''''''5'''''''">
              <a:rPr lang="en-US" altLang="en-US" sz="10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lvl="0" algn="ctr">
                <a:spcAft>
                  <a:spcPct val="0"/>
                </a:spcAft>
                <a:defRPr/>
              </a:pPr>
              <a:t>45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2825750" y="50006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5590DC3-8D18-4FAC-ABEA-92A4C3287886}" type="datetime'1''''''2''''''''''''''''''''1''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21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3516313" y="49498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D94EBCD-A9E8-41B1-9A7A-CCC2672DC9CE}" type="datetime'''''''''''''''''1''''''''''''''''''46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46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4205288" y="486727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2CEF91F-E71F-4E86-863E-95A9D832D065}" type="datetime'''''1''8''''''''''''''''''''''''''''''''''''''6''''''''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86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4894263" y="472598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2D35F62-C5B8-4C3A-AEC1-48A8E694B667}" type="datetime'''''''''2''''''''''5''''''''''4''''''''''''''''''''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54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5583238" y="460057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6AF2729-6A45-4424-BF53-5DF7C7DC09BA}" type="datetime'''''''''''''''''3''''''''''''1''''''''''''''''''''''5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15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7651750" y="40481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26357A0-8B12-4D03-91FD-777B174658F3}" type="datetime'''''''''5''''''''''''''''8''''''''''''''''''''2''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82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8340725" y="3940175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E84D720-C6D0-4318-834C-281D74949032}" type="datetime'''62''''''''''''7''''''''''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spcAft>
                  <a:spcPct val="0"/>
                </a:spcAft>
                <a:defRPr/>
              </a:pPr>
              <a:t>627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5553075" y="292258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ACDB080-DF76-4F81-A883-28209CB01379}" type="datetime'''''''''''''''6''''''.6''''''''''''''%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6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cxnSp>
        <p:nvCxnSpPr>
          <p:cNvPr id="75" name="Straight Connector 74"/>
          <p:cNvCxnSpPr/>
          <p:nvPr>
            <p:custDataLst>
              <p:tags r:id="rId41"/>
            </p:custDataLst>
          </p:nvPr>
        </p:nvCxnSpPr>
        <p:spPr bwMode="auto">
          <a:xfrm>
            <a:off x="514350" y="3027363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6" name="Rectangle 75"/>
          <p:cNvSpPr/>
          <p:nvPr>
            <p:custDataLst>
              <p:tags r:id="rId42"/>
            </p:custDataLst>
          </p:nvPr>
        </p:nvSpPr>
        <p:spPr bwMode="auto">
          <a:xfrm>
            <a:off x="544513" y="3148013"/>
            <a:ext cx="142875" cy="106363"/>
          </a:xfrm>
          <a:prstGeom prst="rect">
            <a:avLst/>
          </a:prstGeom>
          <a:solidFill>
            <a:srgbClr val="007770"/>
          </a:solidFill>
          <a:ln w="3175" cap="flat" cmpd="sng" algn="ctr">
            <a:solidFill>
              <a:srgbClr val="026F4E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7" name="Oval 76"/>
          <p:cNvSpPr/>
          <p:nvPr>
            <p:custDataLst>
              <p:tags r:id="rId43"/>
            </p:custDataLst>
          </p:nvPr>
        </p:nvSpPr>
        <p:spPr bwMode="auto">
          <a:xfrm>
            <a:off x="560388" y="3001963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738188" y="2970213"/>
            <a:ext cx="4286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26833CC-24F0-4E2A-86F8-F52BCDE66F3F}" type="datetime'N''''''E''''''''''''V'' ''''''''''''''''''''M''''''''''S%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l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NEV MS%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738188" y="3143250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NEV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82" name="Table 81"/>
          <p:cNvGraphicFramePr>
            <a:graphicFrameLocks noGrp="1"/>
          </p:cNvGraphicFramePr>
          <p:nvPr>
            <p:extLst/>
          </p:nvPr>
        </p:nvGraphicFramePr>
        <p:xfrm>
          <a:off x="401445" y="5481889"/>
          <a:ext cx="9112675" cy="707653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827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7361">
                  <a:extLst>
                    <a:ext uri="{9D8B030D-6E8A-4147-A177-3AD203B41FA5}">
                      <a16:colId xmlns:a16="http://schemas.microsoft.com/office/drawing/2014/main" val="2599429167"/>
                    </a:ext>
                  </a:extLst>
                </a:gridCol>
                <a:gridCol w="657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504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baseline="0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Vol. by </a:t>
                      </a:r>
                      <a:r>
                        <a:rPr lang="en-US" altLang="zh-CN" sz="900" u="none" strike="noStrike" baseline="0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yp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19A</a:t>
                      </a:r>
                      <a:endParaRPr lang="en-US" sz="900" b="1" i="0" u="none" strike="noStrike" dirty="0" smtClean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29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QB</a:t>
                      </a:r>
                      <a:endParaRPr lang="en-US" sz="900" b="1" kern="1200" dirty="0" smtClean="0">
                        <a:solidFill>
                          <a:schemeClr val="dk1"/>
                        </a:solidFill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28088"/>
                  </a:ext>
                </a:extLst>
              </a:tr>
              <a:tr h="17929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EB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66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5" name="TextBox 84"/>
          <p:cNvSpPr txBox="1"/>
          <p:nvPr/>
        </p:nvSpPr>
        <p:spPr>
          <a:xfrm>
            <a:off x="541446" y="2525713"/>
            <a:ext cx="655984" cy="20637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5313210" y="2708054"/>
            <a:ext cx="4045475" cy="102569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lvl="4"/>
            <a:endParaRPr lang="en-US" sz="900" dirty="0" smtClean="0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1" name="Rectangle 80"/>
          <p:cNvSpPr/>
          <p:nvPr/>
        </p:nvSpPr>
        <p:spPr bwMode="auto">
          <a:xfrm>
            <a:off x="5321165" y="2710646"/>
            <a:ext cx="100776" cy="12223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2</a:t>
            </a:r>
            <a:endParaRPr kumimoji="0" lang="en-US" sz="1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376958" y="1402105"/>
            <a:ext cx="9119467" cy="64933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 marL="228600" indent="-228600">
              <a:spcBef>
                <a:spcPts val="540"/>
              </a:spcBef>
              <a:buFont typeface="+mj-lt"/>
              <a:buAutoNum type="arabicParenR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</a:p>
          <a:p>
            <a:pPr marL="228600" indent="-228600">
              <a:spcBef>
                <a:spcPts val="540"/>
              </a:spcBef>
              <a:buFont typeface="+mj-lt"/>
              <a:buAutoNum type="arabicParenR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lang="en-US" sz="900" dirty="0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979294" y="2308860"/>
            <a:ext cx="1908894" cy="1746251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lvl="4"/>
            <a:endParaRPr lang="en-US" sz="900" dirty="0" smtClean="0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6" name="Rectangle 85"/>
          <p:cNvSpPr/>
          <p:nvPr/>
        </p:nvSpPr>
        <p:spPr bwMode="auto">
          <a:xfrm>
            <a:off x="1986915" y="2308110"/>
            <a:ext cx="100776" cy="12223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>
                <a:solidFill>
                  <a:schemeClr val="bg1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1</a:t>
            </a:r>
            <a:endParaRPr kumimoji="0" lang="en-US" sz="1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408798" y="6435401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29076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930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7344" name="think-cell Slide" r:id="rId33" imgW="470" imgH="469" progId="TCLayout.ActiveDocument.1">
                  <p:embed/>
                </p:oleObj>
              </mc:Choice>
              <mc:Fallback>
                <p:oleObj name="think-cell Slide" r:id="rId33" imgW="470" imgH="469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  <a:defRPr/>
            </a:pPr>
            <a:endParaRPr kumimoji="0" lang="en-US" sz="1200" b="1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W-VW VW PR69.OP vs. PR69.SP</a:t>
            </a:r>
            <a:r>
              <a:rPr lang="en-US" dirty="0" smtClean="0">
                <a:sym typeface="VWAG TheSans"/>
              </a:rPr>
              <a:t> </a:t>
            </a:r>
            <a:r>
              <a:rPr lang="en-US" dirty="0">
                <a:sym typeface="VWAG TheSans"/>
              </a:rPr>
              <a:t>- Acc. </a:t>
            </a:r>
            <a:r>
              <a:rPr lang="en-US" dirty="0" smtClean="0">
                <a:sym typeface="VWAG TheSans"/>
              </a:rPr>
              <a:t>Volumes (2020-2030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cxnSp>
        <p:nvCxnSpPr>
          <p:cNvPr id="8" name="Straight Connector 7"/>
          <p:cNvCxnSpPr/>
          <p:nvPr>
            <p:custDataLst>
              <p:tags r:id="rId4"/>
            </p:custDataLst>
          </p:nvPr>
        </p:nvCxnSpPr>
        <p:spPr bwMode="auto">
          <a:xfrm>
            <a:off x="5953125" y="3124200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/>
          <p:cNvCxnSpPr/>
          <p:nvPr>
            <p:custDataLst>
              <p:tags r:id="rId5"/>
            </p:custDataLst>
          </p:nvPr>
        </p:nvCxnSpPr>
        <p:spPr bwMode="auto">
          <a:xfrm>
            <a:off x="1536700" y="2135188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>
            <p:custDataLst>
              <p:tags r:id="rId6"/>
            </p:custDataLst>
          </p:nvPr>
        </p:nvCxnSpPr>
        <p:spPr bwMode="auto">
          <a:xfrm>
            <a:off x="3009900" y="2516188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7"/>
            </p:custDataLst>
          </p:nvPr>
        </p:nvCxnSpPr>
        <p:spPr bwMode="auto">
          <a:xfrm>
            <a:off x="4481513" y="2516188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8"/>
            </p:custDataLst>
          </p:nvPr>
        </p:nvCxnSpPr>
        <p:spPr bwMode="auto">
          <a:xfrm>
            <a:off x="7426325" y="3094038"/>
            <a:ext cx="654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Rectangle 40"/>
          <p:cNvSpPr/>
          <p:nvPr>
            <p:custDataLst>
              <p:tags r:id="rId9"/>
            </p:custDataLst>
          </p:nvPr>
        </p:nvSpPr>
        <p:spPr bwMode="auto">
          <a:xfrm>
            <a:off x="3663950" y="2513013"/>
            <a:ext cx="817563" cy="6350"/>
          </a:xfrm>
          <a:prstGeom prst="rect">
            <a:avLst/>
          </a:prstGeom>
          <a:solidFill>
            <a:srgbClr val="C30C3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52" name="Chart 51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4906176"/>
              </p:ext>
            </p:extLst>
          </p:nvPr>
        </p:nvGraphicFramePr>
        <p:xfrm>
          <a:off x="309563" y="2052638"/>
          <a:ext cx="8997950" cy="2913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 useBgFill="1">
        <p:nvSpPr>
          <p:cNvPr id="12" name="Freeform 11"/>
          <p:cNvSpPr/>
          <p:nvPr>
            <p:custDataLst>
              <p:tags r:id="rId11"/>
            </p:custDataLst>
          </p:nvPr>
        </p:nvSpPr>
        <p:spPr bwMode="auto">
          <a:xfrm>
            <a:off x="677863" y="3854450"/>
            <a:ext cx="900113" cy="300039"/>
          </a:xfrm>
          <a:custGeom>
            <a:avLst/>
            <a:gdLst/>
            <a:ahLst/>
            <a:cxnLst/>
            <a:rect l="0" t="0" r="0" b="0"/>
            <a:pathLst>
              <a:path w="900113" h="300039">
                <a:moveTo>
                  <a:pt x="0" y="242888"/>
                </a:moveTo>
                <a:lnTo>
                  <a:pt x="900112" y="0"/>
                </a:lnTo>
                <a:lnTo>
                  <a:pt x="900112" y="57150"/>
                </a:lnTo>
                <a:lnTo>
                  <a:pt x="0" y="300038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15" name="Freeform 14"/>
          <p:cNvSpPr/>
          <p:nvPr>
            <p:custDataLst>
              <p:tags r:id="rId12"/>
            </p:custDataLst>
          </p:nvPr>
        </p:nvSpPr>
        <p:spPr bwMode="auto">
          <a:xfrm>
            <a:off x="8039100" y="3854450"/>
            <a:ext cx="900114" cy="300039"/>
          </a:xfrm>
          <a:custGeom>
            <a:avLst/>
            <a:gdLst/>
            <a:ahLst/>
            <a:cxnLst/>
            <a:rect l="0" t="0" r="0" b="0"/>
            <a:pathLst>
              <a:path w="900114" h="300039">
                <a:moveTo>
                  <a:pt x="0" y="242888"/>
                </a:moveTo>
                <a:lnTo>
                  <a:pt x="900113" y="0"/>
                </a:lnTo>
                <a:lnTo>
                  <a:pt x="900113" y="57150"/>
                </a:lnTo>
                <a:lnTo>
                  <a:pt x="0" y="300038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Freeform 2"/>
          <p:cNvSpPr/>
          <p:nvPr>
            <p:custDataLst>
              <p:tags r:id="rId13"/>
            </p:custDataLst>
          </p:nvPr>
        </p:nvSpPr>
        <p:spPr bwMode="auto">
          <a:xfrm>
            <a:off x="677863" y="3854450"/>
            <a:ext cx="900113" cy="242889"/>
          </a:xfrm>
          <a:custGeom>
            <a:avLst/>
            <a:gdLst/>
            <a:ahLst/>
            <a:cxnLst/>
            <a:rect l="0" t="0" r="0" b="0"/>
            <a:pathLst>
              <a:path w="900113" h="242889">
                <a:moveTo>
                  <a:pt x="0" y="242888"/>
                </a:moveTo>
                <a:lnTo>
                  <a:pt x="9001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Freeform 10"/>
          <p:cNvSpPr/>
          <p:nvPr>
            <p:custDataLst>
              <p:tags r:id="rId14"/>
            </p:custDataLst>
          </p:nvPr>
        </p:nvSpPr>
        <p:spPr bwMode="auto">
          <a:xfrm>
            <a:off x="677863" y="3911600"/>
            <a:ext cx="900113" cy="242889"/>
          </a:xfrm>
          <a:custGeom>
            <a:avLst/>
            <a:gdLst/>
            <a:ahLst/>
            <a:cxnLst/>
            <a:rect l="0" t="0" r="0" b="0"/>
            <a:pathLst>
              <a:path w="900113" h="242889">
                <a:moveTo>
                  <a:pt x="0" y="242888"/>
                </a:moveTo>
                <a:lnTo>
                  <a:pt x="9001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Freeform 12"/>
          <p:cNvSpPr/>
          <p:nvPr>
            <p:custDataLst>
              <p:tags r:id="rId15"/>
            </p:custDataLst>
          </p:nvPr>
        </p:nvSpPr>
        <p:spPr bwMode="auto">
          <a:xfrm>
            <a:off x="8039100" y="3854450"/>
            <a:ext cx="900114" cy="242889"/>
          </a:xfrm>
          <a:custGeom>
            <a:avLst/>
            <a:gdLst/>
            <a:ahLst/>
            <a:cxnLst/>
            <a:rect l="0" t="0" r="0" b="0"/>
            <a:pathLst>
              <a:path w="900114" h="242889">
                <a:moveTo>
                  <a:pt x="0" y="242888"/>
                </a:moveTo>
                <a:lnTo>
                  <a:pt x="900113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Freeform 13"/>
          <p:cNvSpPr/>
          <p:nvPr>
            <p:custDataLst>
              <p:tags r:id="rId16"/>
            </p:custDataLst>
          </p:nvPr>
        </p:nvSpPr>
        <p:spPr bwMode="auto">
          <a:xfrm>
            <a:off x="8039100" y="3911600"/>
            <a:ext cx="900114" cy="242889"/>
          </a:xfrm>
          <a:custGeom>
            <a:avLst/>
            <a:gdLst/>
            <a:ahLst/>
            <a:cxnLst/>
            <a:rect l="0" t="0" r="0" b="0"/>
            <a:pathLst>
              <a:path w="900114" h="242889">
                <a:moveTo>
                  <a:pt x="0" y="242888"/>
                </a:moveTo>
                <a:lnTo>
                  <a:pt x="900113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8" name="Straight Connector 17"/>
          <p:cNvCxnSpPr/>
          <p:nvPr>
            <p:custDataLst>
              <p:tags r:id="rId17"/>
            </p:custDataLst>
          </p:nvPr>
        </p:nvCxnSpPr>
        <p:spPr bwMode="auto">
          <a:xfrm flipV="1">
            <a:off x="1127125" y="1811338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18"/>
            </p:custDataLst>
          </p:nvPr>
        </p:nvCxnSpPr>
        <p:spPr bwMode="auto">
          <a:xfrm>
            <a:off x="1127125" y="1811338"/>
            <a:ext cx="736123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19"/>
            </p:custDataLst>
          </p:nvPr>
        </p:nvCxnSpPr>
        <p:spPr bwMode="auto">
          <a:xfrm>
            <a:off x="8488363" y="1811338"/>
            <a:ext cx="0" cy="103505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Rectangle 30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8204200" y="4929187"/>
            <a:ext cx="5683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3F54BCE-66FC-43B5-B933-6CAC2B38469F}" type="datetime''' ''P''''''''''''''''R''''''''''''''''6''''''9''.''''OP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6791325" y="2940050"/>
            <a:ext cx="450850" cy="33655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84B5B7B-15F9-4087-9892-E9D986418F87}" type="datetime'4''''''''''''''''''0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0</a:t>
            </a:fld>
            <a:endParaRPr lang="en-US" altLang="en-US" sz="1000" b="1" dirty="0" smtClean="0">
              <a:ea typeface="+mj-ea"/>
              <a:cs typeface="+mj-cs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latin typeface="+mj-lt"/>
                <a:ea typeface="+mj-ea"/>
                <a:cs typeface="+mj-cs"/>
                <a:sym typeface="+mj-lt"/>
              </a:rPr>
              <a:t>(+0.3%)</a:t>
            </a: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623888" y="4929187"/>
            <a:ext cx="100806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BA77412-7551-4B15-BFEB-D43C8E5799EF}" type="datetime' PR''''69''.''''''''SP ''''''''O''''ff''''i''''ci''a''l''''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2389188" y="2157413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F44535C-0597-4B6F-8FDC-6067229DC43D}" type="datetime'''''-''''''5''''''''''''''''''0''0'''''''''''''''''">
              <a:rPr lang="en-US" altLang="en-US" sz="10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-500</a:t>
            </a:fld>
            <a:endParaRPr lang="en-US" altLang="en-US" sz="1000" b="1" dirty="0" smtClean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(-1.2%)</a:t>
            </a: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2008189" y="4929187"/>
            <a:ext cx="11842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913BC6B8-3BCC-4BBA-AAC8-CAFD94792ABE}" type="datetime'To''t''al'' ''Ma''rke''''t'' ''''''Ef''''''f''e''''''''''ct'">
              <a:rPr lang="en-US" altLang="en-US" sz="1100" b="1" smtClean="0">
                <a:solidFill>
                  <a:srgbClr val="000000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Total Market Effect</a:t>
            </a:fld>
            <a:endParaRPr kumimoji="0" lang="en-US" sz="11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3636962" y="4929187"/>
            <a:ext cx="87153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FFCFED-9FAB-4460-811A-EE0B7340B6A9}" type="datetime'''''Pr''''''od''''''''''uc''''''t'''''' ''E''f''fect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oduct Effect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5332413" y="2651125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8D7AC17-20C8-44D1-A8FB-A76396547988}" type="datetime'''-''8''''''''''''''''''''''''''''''0''0'''''''''''''''''''">
              <a:rPr lang="en-US" altLang="en-US" sz="10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-800</a:t>
            </a:fld>
            <a:endParaRPr lang="en-US" altLang="en-US" sz="1000" b="1" dirty="0" smtClean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(-3.7%)</a:t>
            </a: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038724" y="4929187"/>
            <a:ext cx="101123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6C47C6-6B74-4CCC-82E7-F295698E4834}" type="datetime'C''y''cl''''e'''' Pl''a''n E''''''f''''''''''fe''''''''ct''''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ycle Plan Effect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6621463" y="4929187"/>
            <a:ext cx="7905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05EE76-03FD-4589-9195-81D4C6D8E8FC}" type="datetime'''''Pe''''''r''''f''''or''''m''''''''''''''an''''c''''''e''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erformance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8259762" y="2884488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DE047AA-97AE-4EE3-A784-A2A891E8EC14}" type="datetime'''''''''''''''''18'',''''''''''''''''''''''''''74''0'''''''">
              <a:rPr lang="en-US" altLang="en-US" sz="1100" b="1" smtClean="0">
                <a:solidFill>
                  <a:srgbClr val="000000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18,740</a:t>
            </a:fld>
            <a:endParaRPr kumimoji="0" lang="en-US" sz="11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898524" y="1925637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60A924A-3E94-4895-941C-C7A1C5E513F9}" type="datetime'''''''''''''''''20'',''''0''00'''''''''''''''''''''''''">
              <a:rPr lang="en-US" altLang="en-US" sz="1100" b="1" smtClean="0">
                <a:solidFill>
                  <a:srgbClr val="000000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20,000</a:t>
            </a:fld>
            <a:endParaRPr kumimoji="0" lang="en-US" sz="11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4" name="Oval 3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4476750" y="1525588"/>
            <a:ext cx="660400" cy="5715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C2FCD69-3796-4911-99D9-E60DF87F9610}" type="datetime'''''''-''''1'''''',''2''''''''''''''6''0'''''''''''">
              <a:rPr lang="en-US" altLang="en-US" sz="1200" b="1" smtClean="0">
                <a:solidFill>
                  <a:srgbClr val="C00000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-1,260</a:t>
            </a:fld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t/>
            </a:r>
            <a:b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</a:br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t>(</a:t>
            </a:r>
            <a:fld id="{FDA3F779-F2E7-4999-B909-81690A068EAE}" type="datetime'''''-''''''''''6''''''.''''3''''%'''''">
              <a:rPr lang="en-US" altLang="en-US" sz="1200" b="1" smtClean="0">
                <a:solidFill>
                  <a:srgbClr val="C00000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-6.3%</a:t>
            </a:fld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t>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67333" y="1451742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1474847"/>
              </p:ext>
            </p:extLst>
          </p:nvPr>
        </p:nvGraphicFramePr>
        <p:xfrm>
          <a:off x="392118" y="5182251"/>
          <a:ext cx="8833104" cy="1143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33160971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VWAG TheSans"/>
                          <a:ea typeface="+mn-ea"/>
                          <a:cs typeface="+mn-cs"/>
                        </a:rPr>
                        <a:t>Vol. Change by Factors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 smtClean="0">
                          <a:effectLst/>
                        </a:rPr>
                        <a:t>2030E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Market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5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5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5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177149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roduct 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Cycle</a:t>
                      </a:r>
                      <a:r>
                        <a:rPr lang="en-US" sz="900" b="1" u="none" strike="noStrike" baseline="0" dirty="0" smtClean="0">
                          <a:effectLst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5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5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8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8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2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2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5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5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5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5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8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2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2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3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3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4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4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6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6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2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2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4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</a:tbl>
          </a:graphicData>
        </a:graphic>
      </p:graphicFrame>
      <p:graphicFrame>
        <p:nvGraphicFramePr>
          <p:cNvPr id="39" name="Table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1591125"/>
              </p:ext>
            </p:extLst>
          </p:nvPr>
        </p:nvGraphicFramePr>
        <p:xfrm>
          <a:off x="4935144" y="3177005"/>
          <a:ext cx="1232901" cy="5867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5032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17869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SOP Delay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0" indent="0" algn="l" defTabSz="914400" rtl="0" eaLnBrk="1" fontAlgn="b" latinLnBrk="0" hangingPunct="1">
                        <a:buFont typeface="Arial" panose="020B0604020202020204" pitchFamily="34" charset="0"/>
                        <a:buNone/>
                      </a:pPr>
                      <a:endParaRPr lang="en-US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endParaRPr lang="en-US" sz="700" b="0" i="0" u="none" strike="noStrike" kern="1200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5750675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0" indent="0" algn="l" defTabSz="914400" rtl="0" eaLnBrk="1" fontAlgn="b" latinLnBrk="0" hangingPunct="1">
                        <a:buFont typeface="Arial" panose="020B0604020202020204" pitchFamily="34" charset="0"/>
                        <a:buNone/>
                      </a:pPr>
                      <a:endParaRPr lang="en-US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endParaRPr lang="en-US" sz="700" b="0" i="0" u="none" strike="noStrike" kern="1200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4486100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0" indent="0" algn="l" defTabSz="914400" rtl="0" eaLnBrk="1" fontAlgn="b" latinLnBrk="0" hangingPunct="1">
                        <a:buFont typeface="Arial" panose="020B0604020202020204" pitchFamily="34" charset="0"/>
                        <a:buNone/>
                      </a:pPr>
                      <a:endParaRPr lang="en-US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endParaRPr lang="en-US" sz="700" b="0" i="0" u="none" strike="noStrike" kern="1200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451928"/>
                  </a:ext>
                </a:extLst>
              </a:tr>
              <a:tr h="123817">
                <a:tc>
                  <a:txBody>
                    <a:bodyPr/>
                    <a:lstStyle/>
                    <a:p>
                      <a:pPr marL="0" indent="0" algn="l" defTabSz="914400" rtl="0" eaLnBrk="1" fontAlgn="b" latinLnBrk="0" hangingPunct="1">
                        <a:buFont typeface="Arial" panose="020B0604020202020204" pitchFamily="34" charset="0"/>
                        <a:buNone/>
                      </a:pPr>
                      <a:endParaRPr lang="en-US" sz="700" b="0" i="0" u="none" strike="noStrike" kern="1200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endParaRPr lang="en-US" sz="700" b="0" i="0" u="none" strike="noStrike" kern="1200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6087273"/>
                  </a:ext>
                </a:extLst>
              </a:tr>
            </a:tbl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0356310"/>
              </p:ext>
            </p:extLst>
          </p:nvPr>
        </p:nvGraphicFramePr>
        <p:xfrm>
          <a:off x="4935144" y="3790639"/>
          <a:ext cx="1232901" cy="2489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5032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17869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31990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EOP pull ahead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116936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7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6994" marR="6994" marT="69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5750675"/>
                  </a:ext>
                </a:extLst>
              </a:tr>
            </a:tbl>
          </a:graphicData>
        </a:graphic>
      </p:graphicFrame>
      <p:graphicFrame>
        <p:nvGraphicFramePr>
          <p:cNvPr id="50" name="Table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0703110"/>
              </p:ext>
            </p:extLst>
          </p:nvPr>
        </p:nvGraphicFramePr>
        <p:xfrm>
          <a:off x="1979873" y="3177005"/>
          <a:ext cx="1214851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994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49857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KT Effects  </a:t>
                      </a:r>
                      <a:r>
                        <a:rPr kumimoji="0" lang="en-US" sz="9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-2030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122941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V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rke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01156"/>
                  </a:ext>
                </a:extLst>
              </a:tr>
            </a:tbl>
          </a:graphicData>
        </a:graphic>
      </p:graphicFrame>
      <p:sp>
        <p:nvSpPr>
          <p:cNvPr id="43" name="TextBox 42"/>
          <p:cNvSpPr txBox="1"/>
          <p:nvPr/>
        </p:nvSpPr>
        <p:spPr>
          <a:xfrm>
            <a:off x="408798" y="6435401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47451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6861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8367" name="think-cell Slide" r:id="rId35" imgW="470" imgH="469" progId="TCLayout.ActiveDocument.1">
                  <p:embed/>
                </p:oleObj>
              </mc:Choice>
              <mc:Fallback>
                <p:oleObj name="think-cell Slide" r:id="rId35" imgW="470" imgH="469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  <a:defRPr/>
            </a:pPr>
            <a:endParaRPr kumimoji="0" lang="en-US" sz="1200" b="1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W-VW VW </a:t>
            </a:r>
            <a:r>
              <a:rPr lang="de-DE" dirty="0" smtClean="0">
                <a:solidFill>
                  <a:srgbClr val="003366"/>
                </a:solidFill>
              </a:rPr>
              <a:t>NEV</a:t>
            </a:r>
            <a:r>
              <a:rPr lang="en-US" dirty="0" smtClean="0"/>
              <a:t> PR69.OP vs. PR69.SP</a:t>
            </a:r>
            <a:r>
              <a:rPr lang="en-US" dirty="0" smtClean="0">
                <a:sym typeface="VWAG TheSans"/>
              </a:rPr>
              <a:t> </a:t>
            </a:r>
            <a:r>
              <a:rPr lang="en-US" dirty="0">
                <a:sym typeface="VWAG TheSans"/>
              </a:rPr>
              <a:t>- Acc. </a:t>
            </a:r>
            <a:r>
              <a:rPr lang="en-US" dirty="0" smtClean="0">
                <a:sym typeface="VWAG TheSans"/>
              </a:rPr>
              <a:t>Volumes (2020-2030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cxnSp>
        <p:nvCxnSpPr>
          <p:cNvPr id="8" name="Straight Connector 7"/>
          <p:cNvCxnSpPr/>
          <p:nvPr>
            <p:custDataLst>
              <p:tags r:id="rId4"/>
            </p:custDataLst>
          </p:nvPr>
        </p:nvCxnSpPr>
        <p:spPr bwMode="auto">
          <a:xfrm>
            <a:off x="6091237" y="3228975"/>
            <a:ext cx="6794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>
            <p:custDataLst>
              <p:tags r:id="rId5"/>
            </p:custDataLst>
          </p:nvPr>
        </p:nvCxnSpPr>
        <p:spPr bwMode="auto">
          <a:xfrm>
            <a:off x="3025774" y="3051175"/>
            <a:ext cx="6810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/>
          <p:cNvCxnSpPr/>
          <p:nvPr>
            <p:custDataLst>
              <p:tags r:id="rId6"/>
            </p:custDataLst>
          </p:nvPr>
        </p:nvCxnSpPr>
        <p:spPr bwMode="auto">
          <a:xfrm>
            <a:off x="1493837" y="2339975"/>
            <a:ext cx="6794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7"/>
            </p:custDataLst>
          </p:nvPr>
        </p:nvCxnSpPr>
        <p:spPr bwMode="auto">
          <a:xfrm>
            <a:off x="4559299" y="3051175"/>
            <a:ext cx="6794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8"/>
            </p:custDataLst>
          </p:nvPr>
        </p:nvCxnSpPr>
        <p:spPr bwMode="auto">
          <a:xfrm>
            <a:off x="7623174" y="3140075"/>
            <a:ext cx="68103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Rectangle 15"/>
          <p:cNvSpPr/>
          <p:nvPr>
            <p:custDataLst>
              <p:tags r:id="rId9"/>
            </p:custDataLst>
          </p:nvPr>
        </p:nvSpPr>
        <p:spPr bwMode="auto">
          <a:xfrm>
            <a:off x="3706813" y="3048000"/>
            <a:ext cx="852487" cy="6350"/>
          </a:xfrm>
          <a:prstGeom prst="rect">
            <a:avLst/>
          </a:prstGeom>
          <a:solidFill>
            <a:srgbClr val="C30C3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56" name="Chart 55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92439305"/>
              </p:ext>
            </p:extLst>
          </p:nvPr>
        </p:nvGraphicFramePr>
        <p:xfrm>
          <a:off x="219075" y="2257425"/>
          <a:ext cx="9359900" cy="2635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 useBgFill="1">
        <p:nvSpPr>
          <p:cNvPr id="12" name="Freeform 11"/>
          <p:cNvSpPr/>
          <p:nvPr>
            <p:custDataLst>
              <p:tags r:id="rId11"/>
            </p:custDataLst>
          </p:nvPr>
        </p:nvSpPr>
        <p:spPr bwMode="auto">
          <a:xfrm>
            <a:off x="600075" y="3865563"/>
            <a:ext cx="935039" cy="309563"/>
          </a:xfrm>
          <a:custGeom>
            <a:avLst/>
            <a:gdLst/>
            <a:ahLst/>
            <a:cxnLst/>
            <a:rect l="0" t="0" r="0" b="0"/>
            <a:pathLst>
              <a:path w="935039" h="309563">
                <a:moveTo>
                  <a:pt x="0" y="252412"/>
                </a:moveTo>
                <a:lnTo>
                  <a:pt x="935038" y="0"/>
                </a:lnTo>
                <a:lnTo>
                  <a:pt x="935038" y="57150"/>
                </a:lnTo>
                <a:lnTo>
                  <a:pt x="0" y="309562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15" name="Freeform 14"/>
          <p:cNvSpPr/>
          <p:nvPr>
            <p:custDataLst>
              <p:tags r:id="rId12"/>
            </p:custDataLst>
          </p:nvPr>
        </p:nvSpPr>
        <p:spPr bwMode="auto">
          <a:xfrm>
            <a:off x="8262938" y="3865563"/>
            <a:ext cx="935038" cy="309563"/>
          </a:xfrm>
          <a:custGeom>
            <a:avLst/>
            <a:gdLst/>
            <a:ahLst/>
            <a:cxnLst/>
            <a:rect l="0" t="0" r="0" b="0"/>
            <a:pathLst>
              <a:path w="935038" h="309563">
                <a:moveTo>
                  <a:pt x="0" y="252412"/>
                </a:moveTo>
                <a:lnTo>
                  <a:pt x="935037" y="0"/>
                </a:lnTo>
                <a:lnTo>
                  <a:pt x="935037" y="57150"/>
                </a:lnTo>
                <a:lnTo>
                  <a:pt x="0" y="309562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Freeform 12"/>
          <p:cNvSpPr/>
          <p:nvPr>
            <p:custDataLst>
              <p:tags r:id="rId13"/>
            </p:custDataLst>
          </p:nvPr>
        </p:nvSpPr>
        <p:spPr bwMode="auto">
          <a:xfrm>
            <a:off x="8262938" y="3865563"/>
            <a:ext cx="935038" cy="252413"/>
          </a:xfrm>
          <a:custGeom>
            <a:avLst/>
            <a:gdLst/>
            <a:ahLst/>
            <a:cxnLst/>
            <a:rect l="0" t="0" r="0" b="0"/>
            <a:pathLst>
              <a:path w="935038" h="252413">
                <a:moveTo>
                  <a:pt x="0" y="252412"/>
                </a:moveTo>
                <a:lnTo>
                  <a:pt x="935037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Freeform 2"/>
          <p:cNvSpPr/>
          <p:nvPr>
            <p:custDataLst>
              <p:tags r:id="rId14"/>
            </p:custDataLst>
          </p:nvPr>
        </p:nvSpPr>
        <p:spPr bwMode="auto">
          <a:xfrm>
            <a:off x="600075" y="3865563"/>
            <a:ext cx="935039" cy="252413"/>
          </a:xfrm>
          <a:custGeom>
            <a:avLst/>
            <a:gdLst/>
            <a:ahLst/>
            <a:cxnLst/>
            <a:rect l="0" t="0" r="0" b="0"/>
            <a:pathLst>
              <a:path w="935039" h="252413">
                <a:moveTo>
                  <a:pt x="0" y="252412"/>
                </a:moveTo>
                <a:lnTo>
                  <a:pt x="935038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Freeform 10"/>
          <p:cNvSpPr/>
          <p:nvPr>
            <p:custDataLst>
              <p:tags r:id="rId15"/>
            </p:custDataLst>
          </p:nvPr>
        </p:nvSpPr>
        <p:spPr bwMode="auto">
          <a:xfrm>
            <a:off x="600075" y="3922713"/>
            <a:ext cx="935039" cy="252413"/>
          </a:xfrm>
          <a:custGeom>
            <a:avLst/>
            <a:gdLst/>
            <a:ahLst/>
            <a:cxnLst/>
            <a:rect l="0" t="0" r="0" b="0"/>
            <a:pathLst>
              <a:path w="935039" h="252413">
                <a:moveTo>
                  <a:pt x="0" y="252412"/>
                </a:moveTo>
                <a:lnTo>
                  <a:pt x="935038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Freeform 13"/>
          <p:cNvSpPr/>
          <p:nvPr>
            <p:custDataLst>
              <p:tags r:id="rId16"/>
            </p:custDataLst>
          </p:nvPr>
        </p:nvSpPr>
        <p:spPr bwMode="auto">
          <a:xfrm>
            <a:off x="8262938" y="3922713"/>
            <a:ext cx="935038" cy="252413"/>
          </a:xfrm>
          <a:custGeom>
            <a:avLst/>
            <a:gdLst/>
            <a:ahLst/>
            <a:cxnLst/>
            <a:rect l="0" t="0" r="0" b="0"/>
            <a:pathLst>
              <a:path w="935038" h="252413">
                <a:moveTo>
                  <a:pt x="0" y="252412"/>
                </a:moveTo>
                <a:lnTo>
                  <a:pt x="935037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8" name="Straight Connector 17"/>
          <p:cNvCxnSpPr/>
          <p:nvPr>
            <p:custDataLst>
              <p:tags r:id="rId17"/>
            </p:custDataLst>
          </p:nvPr>
        </p:nvCxnSpPr>
        <p:spPr bwMode="auto">
          <a:xfrm flipV="1">
            <a:off x="1066800" y="2016125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18"/>
            </p:custDataLst>
          </p:nvPr>
        </p:nvCxnSpPr>
        <p:spPr bwMode="auto">
          <a:xfrm>
            <a:off x="1066800" y="2016125"/>
            <a:ext cx="766286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19"/>
            </p:custDataLst>
          </p:nvPr>
        </p:nvCxnSpPr>
        <p:spPr bwMode="auto">
          <a:xfrm>
            <a:off x="8729663" y="2016125"/>
            <a:ext cx="0" cy="8763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Rectangle 24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798513" y="4856163"/>
            <a:ext cx="538163" cy="36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E871BCD-4E4E-4FA5-8248-3CCC225292EA}" type="datetime' ''PR6''''''9''''.''''''S''''P''''''''&#10;Offic''ia''''''''l'''''">
              <a:rPr lang="en-US" altLang="en-US" sz="11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 PR69.SP
Official</a:t>
            </a:fld>
            <a:endParaRPr kumimoji="0" lang="en-US" sz="11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876300" y="2130425"/>
            <a:ext cx="3825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FFD41F4-9AC1-45BD-A0CE-E67BDBC0E6B1}" type="datetime'''''''''''''2'',''''''''''''''0''''''0''0'''''">
              <a:rPr lang="en-US" altLang="en-US" sz="1100" b="1" smtClean="0">
                <a:solidFill>
                  <a:srgbClr val="000000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2,000</a:t>
            </a:fld>
            <a:endParaRPr kumimoji="0" lang="en-US" sz="11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876300" y="3482975"/>
            <a:ext cx="3825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50F923B-C782-448F-B0B1-0BC7A251EC4C}" type="datetime'''''''''''''''''''''''''''''''''2'''''''',00''''0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,000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2387600" y="2527300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0AE6ADF-D124-49B4-AD8C-9FFA6B8DAFB6}" type="datetime'''''''-''''40''''0'''''''''''''''''''''''''''''''''">
              <a:rPr lang="en-US" altLang="en-US" sz="10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-400</a:t>
            </a:fld>
            <a:endParaRPr lang="en-US" altLang="en-US" sz="1000" b="1" dirty="0" smtClean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(-6.9%)</a:t>
            </a: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2033588" y="4856162"/>
            <a:ext cx="11303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7B7E8E5-4D7B-479C-9142-72FA96B59B07}" type="datetime'''N''''E''''''''V Ma''r''''''ke''''t ''Ef''''''''''fect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NEV Market Effect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6800850" y="4856162"/>
            <a:ext cx="7905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05EE76-03FD-4589-9195-81D4C6D8E8FC}" type="datetime'''''Pe''''''r''''f''''or''''m''''''''''''''an''''c''''''e''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erformance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3697287" y="4856162"/>
            <a:ext cx="87153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FFCFED-9FAB-4460-811A-EE0B7340B6A9}" type="datetime'''''Pr''''''od''''''''''uc''''''t'''''' ''E''f''fect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oduct Effect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5453063" y="2971800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70140DB-8BD4-4F13-B514-D457034C8614}" type="datetime'''-''''''''''1''''''''''''''''''''0''''''''''0'''''''''">
              <a:rPr lang="en-US" altLang="en-US" sz="10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-100</a:t>
            </a:fld>
            <a:endParaRPr lang="en-US" altLang="en-US" sz="1000" b="1" dirty="0" smtClean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(-3.4%)</a:t>
            </a: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5159374" y="4856162"/>
            <a:ext cx="101123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6C47C6-6B74-4CCC-82E7-F295698E4834}" type="datetime'C''y''cl''''e'''' Pl''a''n E''''''f''''''''''fe''''''''ct''''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ycle Plan Effect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6985000" y="3016250"/>
            <a:ext cx="423863" cy="336550"/>
          </a:xfrm>
          <a:prstGeom prst="rect">
            <a:avLst/>
          </a:prstGeom>
          <a:solidFill>
            <a:srgbClr val="008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292E1D0-F74F-4E09-8BE9-D8458C0705F8}" type="datetime'''''5''''''''''''''''''''''''''''''''''''''''''''''0'">
              <a:rPr lang="en-US" altLang="en-US" sz="10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50</a:t>
            </a:fld>
            <a:endParaRPr lang="en-US" altLang="en-US" sz="1000" b="1" dirty="0" smtClean="0">
              <a:solidFill>
                <a:schemeClr val="bg1"/>
              </a:solidFill>
              <a:ea typeface="+mj-ea"/>
              <a:cs typeface="+mj-cs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(-1.2%)</a:t>
            </a: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8539163" y="3698875"/>
            <a:ext cx="3825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87DC6F7-F2A2-46E3-A34A-7FE2860C9D33}" type="datetime'''1'''''''''''''''''''''''''',5''''''''''''''''5''''''0'''''">
              <a:rPr lang="en-US" altLang="en-US" sz="11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1,550</a:t>
            </a:fld>
            <a:endParaRPr lang="en-US" sz="1100" b="1" noProof="0" dirty="0" smtClean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8445500" y="4856162"/>
            <a:ext cx="5683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75E174D-3654-4424-8D4A-0BB8471AA2D2}" type="datetime''' ''''''P''R''''6''''''''''''9''.O''''''P'''''''''''''''''">
              <a:rPr lang="en-US" altLang="en-US" sz="11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 PR69.OP</a:t>
            </a:fld>
            <a:endParaRPr kumimoji="0" lang="en-US" sz="11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8539163" y="2930525"/>
            <a:ext cx="3825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5D1EAC8-2359-4E43-B613-5AD74592A619}" type="datetime'''''''''''1'',''''5''''''''''''''''''''''''5''0'''">
              <a:rPr lang="en-US" altLang="en-US" sz="1100" b="1" smtClean="0">
                <a:solidFill>
                  <a:srgbClr val="000000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1,550</a:t>
            </a:fld>
            <a:endParaRPr kumimoji="0" lang="en-US" sz="11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4" name="Oval 3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4508500" y="1730375"/>
            <a:ext cx="779463" cy="5715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B9DCDCB-CB33-4057-851F-B2E564164FBC}" type="datetime'''''''''''''''''''-''4''5''''''''0'''''''''''''''">
              <a:rPr lang="en-US" altLang="en-US" sz="1200" b="1" smtClean="0">
                <a:solidFill>
                  <a:srgbClr val="C00000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-450</a:t>
            </a:fld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t/>
            </a:r>
            <a:b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</a:br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t>(</a:t>
            </a:r>
            <a:fld id="{A2609470-1055-40D4-BF0A-456CAE209D6B}" type="datetime'-''2''2''.''''5''''''''''''''''''''''''''''%'''''''''''">
              <a:rPr lang="en-US" altLang="en-US" sz="1200" b="1" smtClean="0">
                <a:solidFill>
                  <a:srgbClr val="C00000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-22.5%</a:t>
            </a:fld>
            <a:r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t>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00849" y="1525660"/>
            <a:ext cx="655984" cy="3016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4219952"/>
              </p:ext>
            </p:extLst>
          </p:nvPr>
        </p:nvGraphicFramePr>
        <p:xfrm>
          <a:off x="300849" y="5248598"/>
          <a:ext cx="9195571" cy="1143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191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30940533"/>
                    </a:ext>
                  </a:extLst>
                </a:gridCol>
                <a:gridCol w="65637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VWAG TheSans"/>
                          <a:ea typeface="+mn-ea"/>
                          <a:cs typeface="+mn-cs"/>
                        </a:rPr>
                        <a:t>Vol. Change by Factors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rket Effect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5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5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15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1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1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4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roduct  Effect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ycle</a:t>
                      </a:r>
                      <a:r>
                        <a:rPr lang="en-US" sz="9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2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2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1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5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5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1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12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8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3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1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1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</a:tbl>
          </a:graphicData>
        </a:graphic>
      </p:graphicFrame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4573303"/>
              </p:ext>
            </p:extLst>
          </p:nvPr>
        </p:nvGraphicFramePr>
        <p:xfrm>
          <a:off x="5126800" y="3339810"/>
          <a:ext cx="1160985" cy="6995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1657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299328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49730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SOP Delay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5</a:t>
                      </a:r>
                      <a:r>
                        <a:rPr lang="en-US" altLang="zh-CN" sz="9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5</a:t>
                      </a:r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131014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Minus </a:t>
                      </a: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Ve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8</a:t>
                      </a: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5750675"/>
                  </a:ext>
                </a:extLst>
              </a:tr>
              <a:tr h="139603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ero B</a:t>
                      </a: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86</a:t>
                      </a: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4486100"/>
                  </a:ext>
                </a:extLst>
              </a:tr>
              <a:tr h="139603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gota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HEV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35</a:t>
                      </a: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423314"/>
                  </a:ext>
                </a:extLst>
              </a:tr>
              <a:tr h="139603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yron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HEV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6</a:t>
                      </a: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8268346"/>
                  </a:ext>
                </a:extLst>
              </a:tr>
            </a:tbl>
          </a:graphicData>
        </a:graphic>
      </p:graphicFrame>
      <p:graphicFrame>
        <p:nvGraphicFramePr>
          <p:cNvPr id="50" name="Table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1175407"/>
              </p:ext>
            </p:extLst>
          </p:nvPr>
        </p:nvGraphicFramePr>
        <p:xfrm>
          <a:off x="2021331" y="3339810"/>
          <a:ext cx="1214851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994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49857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KT Effects  </a:t>
                      </a:r>
                      <a:r>
                        <a:rPr kumimoji="0" lang="en-US" sz="9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-2030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V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6.5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</a:tbl>
          </a:graphicData>
        </a:graphic>
      </p:graphicFrame>
      <p:sp>
        <p:nvSpPr>
          <p:cNvPr id="42" name="TextBox 41"/>
          <p:cNvSpPr txBox="1"/>
          <p:nvPr/>
        </p:nvSpPr>
        <p:spPr>
          <a:xfrm>
            <a:off x="408798" y="6435401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63522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6921299"/>
              </p:ext>
            </p:extLst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803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11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cxnSp>
        <p:nvCxnSpPr>
          <p:cNvPr id="27" name="Straight Connector 26"/>
          <p:cNvCxnSpPr/>
          <p:nvPr>
            <p:custDataLst>
              <p:tags r:id="rId4"/>
            </p:custDataLst>
          </p:nvPr>
        </p:nvCxnSpPr>
        <p:spPr bwMode="auto">
          <a:xfrm>
            <a:off x="6397625" y="2652713"/>
            <a:ext cx="151288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5"/>
            </p:custDataLst>
          </p:nvPr>
        </p:nvCxnSpPr>
        <p:spPr bwMode="auto">
          <a:xfrm>
            <a:off x="1858963" y="2349500"/>
            <a:ext cx="1512888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/>
          <p:cNvCxnSpPr/>
          <p:nvPr>
            <p:custDataLst>
              <p:tags r:id="rId6"/>
            </p:custDataLst>
          </p:nvPr>
        </p:nvCxnSpPr>
        <p:spPr bwMode="auto">
          <a:xfrm>
            <a:off x="4129088" y="3108325"/>
            <a:ext cx="15113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45" name="Chart 44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22989171"/>
              </p:ext>
            </p:extLst>
          </p:nvPr>
        </p:nvGraphicFramePr>
        <p:xfrm>
          <a:off x="263525" y="2266950"/>
          <a:ext cx="9242425" cy="2908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 useBgFill="1">
        <p:nvSpPr>
          <p:cNvPr id="5" name="Freeform 4"/>
          <p:cNvSpPr/>
          <p:nvPr>
            <p:custDataLst>
              <p:tags r:id="rId8"/>
            </p:custDataLst>
          </p:nvPr>
        </p:nvSpPr>
        <p:spPr bwMode="auto">
          <a:xfrm>
            <a:off x="1060450" y="3959225"/>
            <a:ext cx="839789" cy="282576"/>
          </a:xfrm>
          <a:custGeom>
            <a:avLst/>
            <a:gdLst/>
            <a:ahLst/>
            <a:cxnLst/>
            <a:rect l="0" t="0" r="0" b="0"/>
            <a:pathLst>
              <a:path w="839789" h="282576">
                <a:moveTo>
                  <a:pt x="0" y="225425"/>
                </a:moveTo>
                <a:lnTo>
                  <a:pt x="839788" y="0"/>
                </a:lnTo>
                <a:lnTo>
                  <a:pt x="839788" y="57150"/>
                </a:lnTo>
                <a:lnTo>
                  <a:pt x="0" y="2825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8" name="Freeform 7"/>
          <p:cNvSpPr/>
          <p:nvPr>
            <p:custDataLst>
              <p:tags r:id="rId9"/>
            </p:custDataLst>
          </p:nvPr>
        </p:nvSpPr>
        <p:spPr bwMode="auto">
          <a:xfrm>
            <a:off x="7869238" y="3959225"/>
            <a:ext cx="839788" cy="282576"/>
          </a:xfrm>
          <a:custGeom>
            <a:avLst/>
            <a:gdLst/>
            <a:ahLst/>
            <a:cxnLst/>
            <a:rect l="0" t="0" r="0" b="0"/>
            <a:pathLst>
              <a:path w="839788" h="282576">
                <a:moveTo>
                  <a:pt x="0" y="225425"/>
                </a:moveTo>
                <a:lnTo>
                  <a:pt x="839787" y="0"/>
                </a:lnTo>
                <a:lnTo>
                  <a:pt x="839787" y="57150"/>
                </a:lnTo>
                <a:lnTo>
                  <a:pt x="0" y="2825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Freeform 6"/>
          <p:cNvSpPr/>
          <p:nvPr>
            <p:custDataLst>
              <p:tags r:id="rId10"/>
            </p:custDataLst>
          </p:nvPr>
        </p:nvSpPr>
        <p:spPr bwMode="auto">
          <a:xfrm>
            <a:off x="7869238" y="4016375"/>
            <a:ext cx="839788" cy="225426"/>
          </a:xfrm>
          <a:custGeom>
            <a:avLst/>
            <a:gdLst/>
            <a:ahLst/>
            <a:cxnLst/>
            <a:rect l="0" t="0" r="0" b="0"/>
            <a:pathLst>
              <a:path w="839788" h="225426">
                <a:moveTo>
                  <a:pt x="0" y="225425"/>
                </a:moveTo>
                <a:lnTo>
                  <a:pt x="839787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Freeform 5"/>
          <p:cNvSpPr/>
          <p:nvPr>
            <p:custDataLst>
              <p:tags r:id="rId11"/>
            </p:custDataLst>
          </p:nvPr>
        </p:nvSpPr>
        <p:spPr bwMode="auto">
          <a:xfrm>
            <a:off x="7869238" y="3959225"/>
            <a:ext cx="839788" cy="225426"/>
          </a:xfrm>
          <a:custGeom>
            <a:avLst/>
            <a:gdLst/>
            <a:ahLst/>
            <a:cxnLst/>
            <a:rect l="0" t="0" r="0" b="0"/>
            <a:pathLst>
              <a:path w="839788" h="225426">
                <a:moveTo>
                  <a:pt x="0" y="225425"/>
                </a:moveTo>
                <a:lnTo>
                  <a:pt x="839787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Freeform 2"/>
          <p:cNvSpPr/>
          <p:nvPr>
            <p:custDataLst>
              <p:tags r:id="rId12"/>
            </p:custDataLst>
          </p:nvPr>
        </p:nvSpPr>
        <p:spPr bwMode="auto">
          <a:xfrm>
            <a:off x="1060450" y="3959225"/>
            <a:ext cx="839789" cy="225426"/>
          </a:xfrm>
          <a:custGeom>
            <a:avLst/>
            <a:gdLst/>
            <a:ahLst/>
            <a:cxnLst/>
            <a:rect l="0" t="0" r="0" b="0"/>
            <a:pathLst>
              <a:path w="839789" h="225426">
                <a:moveTo>
                  <a:pt x="0" y="225425"/>
                </a:moveTo>
                <a:lnTo>
                  <a:pt x="839788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Freeform 3"/>
          <p:cNvSpPr/>
          <p:nvPr>
            <p:custDataLst>
              <p:tags r:id="rId13"/>
            </p:custDataLst>
          </p:nvPr>
        </p:nvSpPr>
        <p:spPr bwMode="auto">
          <a:xfrm>
            <a:off x="1060450" y="4016375"/>
            <a:ext cx="839789" cy="225426"/>
          </a:xfrm>
          <a:custGeom>
            <a:avLst/>
            <a:gdLst/>
            <a:ahLst/>
            <a:cxnLst/>
            <a:rect l="0" t="0" r="0" b="0"/>
            <a:pathLst>
              <a:path w="839789" h="225426">
                <a:moveTo>
                  <a:pt x="0" y="225425"/>
                </a:moveTo>
                <a:lnTo>
                  <a:pt x="839788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2" name="Straight Connector 121"/>
          <p:cNvCxnSpPr/>
          <p:nvPr>
            <p:custDataLst>
              <p:tags r:id="rId14"/>
            </p:custDataLst>
          </p:nvPr>
        </p:nvCxnSpPr>
        <p:spPr bwMode="auto">
          <a:xfrm flipV="1">
            <a:off x="1479550" y="2025650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" name="Straight Connector 122"/>
          <p:cNvCxnSpPr/>
          <p:nvPr>
            <p:custDataLst>
              <p:tags r:id="rId15"/>
            </p:custDataLst>
          </p:nvPr>
        </p:nvCxnSpPr>
        <p:spPr bwMode="auto">
          <a:xfrm>
            <a:off x="1479550" y="2025650"/>
            <a:ext cx="680878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4" name="Straight Connector 123"/>
          <p:cNvCxnSpPr/>
          <p:nvPr>
            <p:custDataLst>
              <p:tags r:id="rId16"/>
            </p:custDataLst>
          </p:nvPr>
        </p:nvCxnSpPr>
        <p:spPr bwMode="auto">
          <a:xfrm>
            <a:off x="8288338" y="2025650"/>
            <a:ext cx="0" cy="3794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Rectangle 56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976313" y="5138737"/>
            <a:ext cx="100806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F887E6A-6E35-4AB4-BD24-6CE32EFA0C18}" type="datetime' PR''6''''''''''''''''9''.''S''P ''''O''''''f''''f''ic''i''al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j-ea"/>
                <a:cs typeface="+mj-cs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5622926" y="5138737"/>
            <a:ext cx="7905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06E3EE3D-2231-4975-9860-4D7845560CB5}" type="datetime'''Per''fo''''''''rma''''''''''''''''''nc''''''''e'">
              <a:rPr lang="en-US" altLang="en-US" sz="1100" b="1" smtClean="0">
                <a:solidFill>
                  <a:srgbClr val="000000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Performance</a:t>
            </a:fld>
            <a:endParaRPr kumimoji="0" lang="en-US" sz="11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3538538" y="2560638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E3BE2774-E11D-4CCE-B69F-557B1DA8EDD8}" type="datetime'''''''''''-''''''''''''5''''''''''''''''''''''''0'">
              <a:rPr lang="en-US" altLang="en-US" sz="1000" b="1" smtClean="0">
                <a:solidFill>
                  <a:srgbClr val="FFFFFF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-50</a:t>
            </a:fld>
            <a:endParaRPr lang="en-US" altLang="en-US" sz="1000" b="1" dirty="0" smtClean="0">
              <a:solidFill>
                <a:srgbClr val="FFFFFF"/>
              </a:solidFill>
              <a:ea typeface="+mj-ea"/>
              <a:cs typeface="+mj-cs"/>
            </a:endParaRPr>
          </a:p>
          <a:p>
            <a:pPr lvl="0" algn="ctr">
              <a:spcAft>
                <a:spcPct val="0"/>
              </a:spcAft>
              <a:defRPr/>
            </a:pPr>
            <a:r>
              <a:rPr kumimoji="0" lang="en-US" sz="1000" b="1" strike="noStrike" kern="1200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j-ea"/>
                <a:cs typeface="+mj-cs"/>
                <a:sym typeface="VWAG TheSans" panose="020B0502050302020203" pitchFamily="34" charset="0"/>
              </a:rPr>
              <a:t>(-1.6%)</a:t>
            </a: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3033713" y="5138737"/>
            <a:ext cx="14319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62AA8AE-97EE-4F45-A699-D3B04E5C8C49}" type="datetime'E''''conom''''''y ''''Mar''k''e''t E''''''''''f''f''ect'">
              <a:rPr lang="en-US" altLang="en-US" sz="1100" b="1" smtClean="0">
                <a:solidFill>
                  <a:srgbClr val="000000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Economy Market Effect</a:t>
            </a:fld>
            <a:endParaRPr kumimoji="0" lang="en-US" sz="11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5792788" y="2711450"/>
            <a:ext cx="4508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9BD8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D7D5591-747A-4723-9BE4-1183DD8058F5}" type="datetime'3''''''''''''''''''0'''''">
              <a:rPr lang="en-US" altLang="en-US" sz="1000" b="1" smtClean="0"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30</a:t>
            </a:fld>
            <a:endParaRPr lang="en-US" altLang="en-US" sz="1000" b="1" dirty="0" smtClean="0">
              <a:ea typeface="+mj-ea"/>
              <a:cs typeface="+mj-cs"/>
            </a:endParaRPr>
          </a:p>
          <a:p>
            <a:pPr lvl="0" algn="ctr">
              <a:spcAft>
                <a:spcPct val="0"/>
              </a:spcAft>
              <a:defRPr/>
            </a:pPr>
            <a:r>
              <a:rPr kumimoji="0" lang="en-US" sz="1000" b="1" strike="noStrike" kern="1200" spc="0" normalizeH="0" noProof="0" dirty="0" smtClean="0">
                <a:ln>
                  <a:noFill/>
                </a:ln>
                <a:effectLst/>
                <a:uLnTx/>
                <a:uFillTx/>
                <a:ea typeface="+mj-ea"/>
                <a:cs typeface="+mj-cs"/>
                <a:sym typeface="VWAG TheSans" panose="020B0502050302020203" pitchFamily="34" charset="0"/>
              </a:rPr>
              <a:t>(+0.8%)</a:t>
            </a: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8004175" y="5138737"/>
            <a:ext cx="5683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D35271B-FDD8-4EC2-AE35-1B2081935029}" type="datetime' P''R''''''''''''''''''''''''''6''''''''''9''.''''''O''P'"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j-ea"/>
                <a:cs typeface="+mj-cs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1289049" y="2139950"/>
            <a:ext cx="3825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F34C80C-1AE9-45CF-962D-B8D7BDD5B06B}" type="datetime'''2'''''''',''''0''''0''''0'''">
              <a:rPr lang="en-US" altLang="en-US" sz="1100" b="1" smtClean="0">
                <a:solidFill>
                  <a:srgbClr val="000000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2,000</a:t>
            </a:fld>
            <a:endParaRPr kumimoji="0" lang="en-US" sz="11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8097837" y="2443163"/>
            <a:ext cx="3825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E74149D-BCB8-4D28-AB68-8A18DFB1BFA3}" type="datetime'''''''''''''''''''1'',''''''''''''''''''9''''''''8''0'''''''">
              <a:rPr lang="en-US" altLang="en-US" sz="1100" b="1" smtClean="0">
                <a:solidFill>
                  <a:srgbClr val="000000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1,980</a:t>
            </a:fld>
            <a:endParaRPr kumimoji="0" lang="en-US" sz="11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121" name="Oval 120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4581525" y="1765300"/>
            <a:ext cx="604838" cy="522288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667D62A-CF62-414C-840B-6A531098572F}" type="datetime'''''''''''''''-''''''''2''''''''''''''''''''0'">
              <a:rPr lang="en-US" altLang="en-US" sz="1100" b="1" smtClean="0">
                <a:solidFill>
                  <a:srgbClr val="C00000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-20</a:t>
            </a:fld>
            <a:r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j-ea"/>
                <a:cs typeface="+mj-cs"/>
                <a:sym typeface="VWAG TheSans" panose="020B0502050302020203" pitchFamily="34" charset="0"/>
              </a:rPr>
              <a:t/>
            </a:r>
            <a:br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j-ea"/>
                <a:cs typeface="+mj-cs"/>
                <a:sym typeface="VWAG TheSans" panose="020B0502050302020203" pitchFamily="34" charset="0"/>
              </a:rPr>
            </a:br>
            <a:r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j-ea"/>
                <a:cs typeface="+mj-cs"/>
                <a:sym typeface="VWAG TheSans" panose="020B0502050302020203" pitchFamily="34" charset="0"/>
              </a:rPr>
              <a:t>(</a:t>
            </a:r>
            <a:fld id="{84D418B1-0DCE-42AE-B49D-A8E411A86236}" type="datetime'''''''''-''''''''1''''''''''''''''''''''.''''''''''''''0%'''''">
              <a:rPr lang="en-US" altLang="en-US" sz="1100" b="1" smtClean="0">
                <a:solidFill>
                  <a:srgbClr val="C00000"/>
                </a:solidFill>
                <a:ea typeface="+mj-ea"/>
                <a:cs typeface="+mj-cs"/>
              </a:rPr>
              <a:pPr lvl="0" algn="ctr">
                <a:spcAft>
                  <a:spcPct val="0"/>
                </a:spcAft>
                <a:defRPr/>
              </a:pPr>
              <a:t>-1.0%</a:t>
            </a:fld>
            <a:r>
              <a:rPr kumimoji="0" lang="en-U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j-ea"/>
                <a:cs typeface="+mj-cs"/>
                <a:sym typeface="VWAG TheSans" panose="020B0502050302020203" pitchFamily="34" charset="0"/>
              </a:rPr>
              <a:t>)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43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469923" y="6548460"/>
            <a:ext cx="677008" cy="179387"/>
          </a:xfrm>
        </p:spPr>
        <p:txBody>
          <a:bodyPr/>
          <a:lstStyle/>
          <a:p>
            <a:pPr marL="0" marR="0" lvl="0" indent="0" algn="r" defTabSz="9588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CF5D4C-9F6E-4E1F-A3C5-05B84EDEF6B8}" type="slidenum"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VWAG TheSans" panose="020B0502050302020203" pitchFamily="34" charset="0"/>
              </a:rPr>
              <a:t>FAW-VW </a:t>
            </a:r>
            <a:r>
              <a:rPr lang="en-US" dirty="0">
                <a:sym typeface="VWAG TheSans" panose="020B0502050302020203" pitchFamily="34" charset="0"/>
              </a:rPr>
              <a:t>Jetta </a:t>
            </a:r>
            <a:r>
              <a:rPr lang="en-US" sz="2000" dirty="0" smtClean="0">
                <a:sym typeface="VWAG TheSans" panose="020B0502050302020203" pitchFamily="34" charset="0"/>
              </a:rPr>
              <a:t>PR69.OP </a:t>
            </a:r>
            <a:r>
              <a:rPr lang="en-US" sz="2000" dirty="0">
                <a:sym typeface="VWAG TheSans" panose="020B0502050302020203" pitchFamily="34" charset="0"/>
              </a:rPr>
              <a:t>vs. PR69.SP - Acc. Volumes (2020-2030)</a:t>
            </a:r>
          </a:p>
        </p:txBody>
      </p:sp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1547275"/>
              </p:ext>
            </p:extLst>
          </p:nvPr>
        </p:nvGraphicFramePr>
        <p:xfrm>
          <a:off x="345393" y="5443364"/>
          <a:ext cx="9078689" cy="8229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889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841674805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In ‘000 units</a:t>
                      </a:r>
                    </a:p>
                  </a:txBody>
                  <a:tcPr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arket Effect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3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5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-5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126525">
                <a:tc gridSpan="1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/>
                      <a:endParaRPr lang="en-US" sz="900" b="1" dirty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erformance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8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</a:t>
                      </a: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30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</a:tbl>
          </a:graphicData>
        </a:graphic>
      </p:graphicFrame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>
                <a:sym typeface="VWAG TheSans" panose="020B0502050302020203" pitchFamily="34" charset="0"/>
              </a:rPr>
              <a:t>Group Market and Sales Steering</a:t>
            </a:r>
            <a:endParaRPr lang="de-DE" noProof="0" dirty="0">
              <a:sym typeface="VWAG TheSans" panose="020B0502050302020203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357808" y="1918467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graphicFrame>
        <p:nvGraphicFramePr>
          <p:cNvPr id="53" name="Table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0640316"/>
              </p:ext>
            </p:extLst>
          </p:nvPr>
        </p:nvGraphicFramePr>
        <p:xfrm>
          <a:off x="2934032" y="3328081"/>
          <a:ext cx="1683977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9019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484958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conomy MKT Effects  </a:t>
                      </a:r>
                      <a:r>
                        <a:rPr kumimoji="0" lang="en-US" sz="9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-2030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V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y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rke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01156"/>
                  </a:ext>
                </a:extLst>
              </a:tr>
            </a:tbl>
          </a:graphicData>
        </a:graphic>
      </p:graphicFrame>
      <p:sp>
        <p:nvSpPr>
          <p:cNvPr id="32" name="TextBox 31"/>
          <p:cNvSpPr txBox="1"/>
          <p:nvPr/>
        </p:nvSpPr>
        <p:spPr>
          <a:xfrm>
            <a:off x="408798" y="6435401"/>
            <a:ext cx="1563125" cy="1104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84410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006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lang="en-US" sz="20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012175" y="1759814"/>
            <a:ext cx="5882779" cy="4086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Total Marke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411132" y="1759814"/>
            <a:ext cx="422030" cy="4086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1</a:t>
            </a: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411132" y="2350542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2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411132" y="2942380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br>
              <a:rPr lang="en-US" dirty="0"/>
            </a:br>
            <a:endParaRPr lang="en-US" dirty="0"/>
          </a:p>
        </p:txBody>
      </p:sp>
      <p:sp>
        <p:nvSpPr>
          <p:cNvPr id="2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31" name="Rectangle 4"/>
          <p:cNvSpPr>
            <a:spLocks noChangeArrowheads="1"/>
          </p:cNvSpPr>
          <p:nvPr/>
        </p:nvSpPr>
        <p:spPr bwMode="auto">
          <a:xfrm>
            <a:off x="411132" y="3534218"/>
            <a:ext cx="422030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4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1012175" y="2350542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PR69.OP Volume Plan – FAW-VW</a:t>
            </a: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auto">
          <a:xfrm>
            <a:off x="1012175" y="2942380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PR69.OP Volume Plan – FAW-VW VW + Jetta</a:t>
            </a: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1012175" y="3534218"/>
            <a:ext cx="5882779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PR69.OP Volume Plan – FAW-VW </a:t>
            </a:r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Audi CKD</a:t>
            </a:r>
            <a:endParaRPr lang="en-US" altLang="zh-CN" sz="1800" b="1" dirty="0">
              <a:solidFill>
                <a:srgbClr val="FFFFFF"/>
              </a:solidFill>
              <a:latin typeface="VWAG TheSans"/>
              <a:sym typeface="VWAG TheSans"/>
            </a:endParaRPr>
          </a:p>
        </p:txBody>
      </p:sp>
    </p:spTree>
    <p:extLst>
      <p:ext uri="{BB962C8B-B14F-4D97-AF65-F5344CB8AC3E}">
        <p14:creationId xmlns:p14="http://schemas.microsoft.com/office/powerpoint/2010/main" val="2620676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3575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63" name="think-cell Slide" r:id="rId75" imgW="470" imgH="469" progId="TCLayout.ActiveDocument.1">
                  <p:embed/>
                </p:oleObj>
              </mc:Choice>
              <mc:Fallback>
                <p:oleObj name="think-cell Slide" r:id="rId75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1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VWAG TheSans" panose="020B0502050302020203" pitchFamily="34" charset="0"/>
              </a:rPr>
              <a:t>FAW-VW Audi CKD PR69.OP </a:t>
            </a:r>
            <a:r>
              <a:rPr lang="en-US" dirty="0">
                <a:sym typeface="VWAG TheSans" panose="020B0502050302020203" pitchFamily="34" charset="0"/>
              </a:rPr>
              <a:t>Volume Planning 2020-20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102" name="Chart 101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88085988"/>
              </p:ext>
            </p:extLst>
          </p:nvPr>
        </p:nvGraphicFramePr>
        <p:xfrm>
          <a:off x="1147763" y="2717800"/>
          <a:ext cx="8431212" cy="3143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7"/>
          </a:graphicData>
        </a:graphic>
      </p:graphicFrame>
      <p:cxnSp>
        <p:nvCxnSpPr>
          <p:cNvPr id="9" name="Straight Connector 8"/>
          <p:cNvCxnSpPr/>
          <p:nvPr>
            <p:custDataLst>
              <p:tags r:id="rId5"/>
            </p:custDataLst>
          </p:nvPr>
        </p:nvCxnSpPr>
        <p:spPr bwMode="auto">
          <a:xfrm>
            <a:off x="9151938" y="2647950"/>
            <a:ext cx="0" cy="35401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Rectangle 17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477963" y="5603875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F340F29-E69C-4E48-9069-6D07558D12EF}" type="datetime'''''''''1''''''''''''''''''''''0''''''0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8275638" y="26574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DB3ED6D-DCEE-43A2-9839-03FC82004757}" type="datetime'''''''2''''''''1''''.''''''''1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1.1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7" name="Rectangle 16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6962775" y="34925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F6B7823-D397-4024-81C4-2931342CBD93}" type="datetime'''909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909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6988175" y="4686300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6334A88-B338-4534-AB0E-E6F73BEDAFB6}" type="datetime'''''''''''''''''''9''''''''''''''0''''''''''''''''''''''''0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9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1387475" y="275748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E9AC8BD-56D1-4668-9171-A6E86479AFF1}" type="datetime'''''''''''2''''0''''.''''''''''''''''1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.1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5589588" y="58118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CB955E8-DE78-4CAE-AF77-F687F501E968}" type="datetime'''''''''''''''''''''2''''''''''''''0''''''2''''5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4922838" y="5030788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98E80B0-696D-4170-9221-943C57CB5698}" type="datetime'''''''''''''''''''''''''''6''''''''''''''00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457325" y="58118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20ADE8-9339-4367-A7B5-05721C20C669}" type="datetime'''''2''''''''''''''''''0''''''''''''''''''''1''''''''''9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9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3" name="Rectangle 12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1533525" y="5487988"/>
            <a:ext cx="84138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13C99B3-6690-4AE0-85D5-51BE9DE6C16C}" type="datetime'''''''1'''''''''''''''''''''''''''''''''''''''''''''''''''''">
              <a:rPr lang="en-US" altLang="en-US" sz="800" b="1" smtClean="0">
                <a:solidFill>
                  <a:srgbClr val="FFFFFF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3" name="Rectangle 82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2076449" y="2732088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3788AF2-0CEB-4084-AEB6-5934DC7FC045}" type="datetime'''''''''''20''''''.''2''''''''''''''''''''''''''''%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0.2%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9034463" y="58118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A0427FB-3C8A-4011-B704-14A214B04D85}" type="datetime'''''''''''2''''''''''''0''''3''''''''''''''''0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8964613" y="2647950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1C4134C-534B-4506-B6C2-6E844851C18F}" type="datetime'''''''2''''''''''1''.''''2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1.2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5" name="Rectangle 14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2222500" y="5249863"/>
            <a:ext cx="84138" cy="133350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080A71A-F925-4983-969C-433AF2EA74B4}" type="datetime'''''''''''''''''''''''''''''''''''''''2'''''">
              <a:rPr lang="en-US" altLang="en-US" sz="8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2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4978400" y="4335463"/>
            <a:ext cx="84138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16498BA-9A07-4B71-9BCF-0CF8BDF56DD5}" type="datetime'''''''''''''''''''''''''''''''''''''''''''''''''''''''''''''6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9" name="Rectangle 18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2166938" y="5481638"/>
            <a:ext cx="1952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4DE6B5C-E2BD-4277-93CC-8AE7F035CA51}" type="datetime'''''''''''''''''''''''''''''''2''''''''''''''''''00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765425" y="2736850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960EFB4-AF25-4B45-BC5E-9C404E3783DA}" type="datetime'''''''2''''''''''''''''0''''''''''''''''''.''''''''3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.3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2146300" y="58118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452547-61A6-4E46-91CA-A63371423982}" type="datetime'2''''''0''''''''2''''''''''''''''''''0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0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8324850" y="4457700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E73CFDD-A150-4AA9-BC42-59ED11969EBF}" type="datetime'''1,''''''''''1''''''''''''''''''0''''''''''''0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1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2911475" y="5027613"/>
            <a:ext cx="84138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0F52C50-0312-4DA2-A702-4915283819B5}" type="datetime'''3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2855913" y="5373688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B4C1C60-39AF-4919-85F2-DF206873058E}" type="datetime'''''''''''''''''3''''''''''''''''''''''''''''''''0''''''''0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2835275" y="58118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4C227A6-A41C-4528-88E8-D7DDAA106CC7}" type="datetime'''''''''''''''''''''2''''''''''''''''0''''''''2''''''''''1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1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3454400" y="27273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B17B75B-0EA5-44D6-9A24-B5E4CC500BA2}" type="datetime'''''''''2''''0''''.''4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.4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5584825" y="38925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C9561B0-CF7C-4AF9-B0FE-DB4B10452E8A}" type="datetime'''''''''''''''''''''7''''0''7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07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3600450" y="4797425"/>
            <a:ext cx="84138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86D41C1-7EE6-469F-ADE8-51854B298759}" type="datetime'''''''''''''''4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3544888" y="5259388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5B7EC7D-9B60-4BE0-8AD4-30DFF85A82E6}" type="datetime'''''''''''4''0''''''''''''''''''''0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6967538" y="58118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36A238-F014-4DCD-B76E-992286F4F6AB}" type="datetime'''20''''''''''''''27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7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6299200" y="4802188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D7C0C62-7954-4C09-8166-5DA121DB88E6}" type="datetime'''8''''''''''''''''0''''''''''''''''''''''''''0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8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3524250" y="58118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07023C5-829F-4805-B923-5672153B9755}" type="datetime'''''''''''''''2''''''''''''0''''''''''''''''''''''''2''2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2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4143375" y="2717800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77A2FA5-29DA-4378-8597-3D86F8505471}" type="datetime'20''''''''''''''''''''''.''''''''''''5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.5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4289425" y="4565650"/>
            <a:ext cx="84138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FC0F4C1-F62C-4C98-920F-3CC267DFED3F}" type="datetime'''''''''''''''''''''''''''''''''''''5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4233863" y="5145088"/>
            <a:ext cx="195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0A2563F-9D31-4078-B72C-4E2C4695DF8F}" type="datetime'''''5''''0''''''''''''''''''''''''''''''0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4213225" y="58118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B3049D8-BAF7-4370-ACEB-3F8F6265BD82}" type="datetime'''''''''2''''''''''0''''''''''''''''''2''''''''''3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3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4832350" y="27082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56AA9F7-5F3E-4036-BD7C-57BF39A40845}" type="datetime'''''''''2''''''''''''''''''''''''''0''''''''''.6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.6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4902200" y="58118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F3CCD4-3BA8-4FB5-BE23-76A7F9A3F63E}" type="datetime'''''''''''''2''''''''''''0''''2''4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5519738" y="2697163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2B2F37E-E934-4D0A-8B77-9964C2E2B6A3}" type="datetime'''2''''''0.''''''''''''''''''''''''''''''''''7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.7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4208463" y="44132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B25CE07-4F5D-42CB-A2DE-DBD675BE82A8}" type="datetime'''''''''''''''''''''''''5''''05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05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5553075" y="4044950"/>
            <a:ext cx="307975" cy="2444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2B8C8C5-9EF6-4AD7-9213-91FB2A748B76}" type="datetime'''''''''''''''''''''''''''7''''''''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</a:t>
            </a:fld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/>
            </a:r>
            <a:b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</a:br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fld id="{7173ECAA-3C16-42EC-9911-B96EC16D9679}" type="datetime'''''''1''''.''''''''''''''''0''''''%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.0%</a:t>
            </a:fld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)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5610225" y="4910138"/>
            <a:ext cx="19526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A9A9019-59C0-423D-AA33-F48D049453FE}" type="datetime'''''''''''''70''''''''''''''''''''''''''''''0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7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6208713" y="268763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2F4DBD5-3492-4E40-901C-9255370128EC}" type="datetime'''''''''''''''''''2''''''''''''''''0''''.''''''''''''8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.8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2141538" y="5081588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B1C8142-5EA2-44E1-A8AA-9A181028AA09}" type="datetime'''''''''''''''''2''''''0''''''''''''''''''''''''''2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02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9013825" y="4343400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7E71702-B71C-41A7-B32A-E4705DF96C7F}" type="datetime'1'''''''''''''''',2''''''''''0''''''''''0''''''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2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6354763" y="3876675"/>
            <a:ext cx="84138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AB7D68E-F59B-4FD6-8E4A-3E5795902327}" type="datetime'''''''''''''''''''8''''''''''''''''''''''''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8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auto">
          <a:xfrm>
            <a:off x="6278563" y="58118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07C662A-8396-4AB6-BA4F-83118A3BE854}" type="datetime'''''2''''''''''''''''0''''''''''''''''2''''''''''''6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6897688" y="2678113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9D3B73A-B3C8-49F8-A552-07EDB4D60E71}" type="datetime'''''''''2''0''''''''''''''.''''''''''9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.9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7043738" y="3644900"/>
            <a:ext cx="84138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6AB87EA-5A7D-4F4C-96E9-4CF3CE60364E}" type="datetime'''''''''''9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9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7586663" y="266858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B52A97E-E552-48B0-99B1-235ABC49339A}" type="datetime'''''2''1''''''''''''.''''''0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1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7704138" y="3414713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FCEBDA0-E795-4871-A26B-67E2844F44F8}" type="datetime'''''''''''''''''''''''''''''''''''''''1''''''''0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7635875" y="4572000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99E5807-FB25-4D43-9A8F-B333D10C93CB}" type="datetime'''''''''1'',00''''''0''''''''''''''''''''''''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0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auto">
          <a:xfrm>
            <a:off x="7656513" y="58118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2638F85-5364-4492-AA07-E5872AA99943}" type="datetime'''''''''''2''''''0''''''''''2''''''8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8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gray">
          <a:xfrm>
            <a:off x="8289925" y="3033713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351CD3C-A602-4E4E-838D-DE4120F98901}" type="datetime'''1'''''''''''''''''',''''1''''''''''1''''''''''''''1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111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8393113" y="3186113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418C3EA-0FDC-495D-BC44-446A0607EFA7}" type="datetime'''''''''''''''''''1''''''''''''''''''''''1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1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gray">
          <a:xfrm>
            <a:off x="8978900" y="249555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93F7005-9AD1-48E1-B103-0FFC1224E20F}" type="datetime'''''''''''''''''''''''''''''''''1'''',''''''''2''''''''12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212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auto">
          <a:xfrm>
            <a:off x="8345488" y="581183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4D98A82-F53A-48EC-94E3-8BB20E29B620}" type="datetime'''''''2''''''0''''''''''''''''''''''''''''''2''''9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9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6273800" y="372427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0A4075B-C258-464B-8128-84630F349FD6}" type="datetime'''8''0''''''8''''''''''''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808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8997950" y="2892425"/>
            <a:ext cx="307975" cy="2444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34B258D-1F91-4704-A2FD-1BB0195CC5B6}" type="datetime'''''''1''''''''''''''''2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2</a:t>
            </a:fld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/>
            </a:r>
            <a:b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</a:br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(</a:t>
            </a:r>
            <a:fld id="{F7F42373-E8A9-4E58-823D-25AE09D20E4E}" type="datetime'1''''.''''''0''''''''''''''%''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.0%</a:t>
            </a:fld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)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4897438" y="41830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AF59325-54BC-4E83-8306-479FDD1AC71F}" type="datetime'''''''6''''''''''''0''''''''''''''''6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06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3519488" y="46450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AABC619-4C62-4A05-A381-B1C883EB844E}" type="datetime'''''''''''''4''''''0''''''''''''''''''''''''''''''''''''''4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04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gray">
          <a:xfrm>
            <a:off x="1452563" y="533558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1D1C16EE-4B88-48F5-8C40-8D48583F02C5}" type="datetime'''''''''''1''''''''''''''''''''''''''''''''''''''0''1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1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2830513" y="487521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4D0B60F-AA50-4F2A-86D7-6602EAF2D2F6}" type="datetime'''''''''''3''''''''0''3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03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gray">
          <a:xfrm>
            <a:off x="7600950" y="3262313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FD1DE62-14BD-42DA-B299-2D778054433A}" type="datetime'''''''''''''''''''''1'''''''''''',''''0''1''''''''''0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,01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1" name="Rectangle 70"/>
          <p:cNvSpPr/>
          <p:nvPr>
            <p:custDataLst>
              <p:tags r:id="rId66"/>
            </p:custDataLst>
          </p:nvPr>
        </p:nvSpPr>
        <p:spPr bwMode="auto">
          <a:xfrm>
            <a:off x="517525" y="3830638"/>
            <a:ext cx="142875" cy="106363"/>
          </a:xfrm>
          <a:prstGeom prst="rect">
            <a:avLst/>
          </a:prstGeom>
          <a:solidFill>
            <a:srgbClr val="C0D9E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0" name="Rectangle 69"/>
          <p:cNvSpPr/>
          <p:nvPr>
            <p:custDataLst>
              <p:tags r:id="rId67"/>
            </p:custDataLst>
          </p:nvPr>
        </p:nvSpPr>
        <p:spPr bwMode="auto">
          <a:xfrm>
            <a:off x="517525" y="3657600"/>
            <a:ext cx="142875" cy="106363"/>
          </a:xfrm>
          <a:prstGeom prst="rect">
            <a:avLst/>
          </a:prstGeom>
          <a:solidFill>
            <a:srgbClr val="007770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69" name="Straight Connector 68"/>
          <p:cNvCxnSpPr/>
          <p:nvPr>
            <p:custDataLst>
              <p:tags r:id="rId68"/>
            </p:custDataLst>
          </p:nvPr>
        </p:nvCxnSpPr>
        <p:spPr bwMode="auto">
          <a:xfrm>
            <a:off x="487363" y="3536950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2" name="Oval 71"/>
          <p:cNvSpPr/>
          <p:nvPr>
            <p:custDataLst>
              <p:tags r:id="rId69"/>
            </p:custDataLst>
          </p:nvPr>
        </p:nvSpPr>
        <p:spPr bwMode="auto">
          <a:xfrm>
            <a:off x="533400" y="3511550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auto">
          <a:xfrm>
            <a:off x="711200" y="3479800"/>
            <a:ext cx="4778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</a:pPr>
            <a:fld id="{C4F80308-21D2-4746-9A2F-7418EF7390F6}" type="datetime'P''''r''''''e''''''''m''''.M''''''''''S''''''''''''''''''%'''">
              <a:rPr lang="en-US" altLang="en-US" sz="8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>
                <a:lnSpc>
                  <a:spcPct val="100000"/>
                </a:lnSpc>
                <a:spcAft>
                  <a:spcPct val="0"/>
                </a:spcAft>
              </a:pPr>
              <a:t>Prem.MS%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auto">
          <a:xfrm>
            <a:off x="711200" y="3825875"/>
            <a:ext cx="138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829D29B-151D-41B2-B8AE-4EC31DDF71F4}" type="datetime'''''''''''I''''''''''C''''''''E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l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ICE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auto">
          <a:xfrm>
            <a:off x="711200" y="3652838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C744EC7-2293-473F-97E3-06C8268B9D19}" type="datetime'''''''''''''N''''''''''''E''''''''V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pPr marL="0" marR="0" lvl="0" indent="0" algn="l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NEV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graphicFrame>
        <p:nvGraphicFramePr>
          <p:cNvPr id="76" name="Table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9703411"/>
              </p:ext>
            </p:extLst>
          </p:nvPr>
        </p:nvGraphicFramePr>
        <p:xfrm>
          <a:off x="392113" y="5705475"/>
          <a:ext cx="9122228" cy="6858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32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em. MS%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T="9525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19A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EV MKT%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900" b="1" baseline="0" dirty="0" smtClean="0"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ICE MKT%</a:t>
                      </a:r>
                      <a:endParaRPr lang="en-US" sz="900" b="1" dirty="0"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0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1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0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1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0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1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0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1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0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1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0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1.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0" name="TextBox 79"/>
          <p:cNvSpPr txBox="1"/>
          <p:nvPr/>
        </p:nvSpPr>
        <p:spPr>
          <a:xfrm>
            <a:off x="393795" y="2906713"/>
            <a:ext cx="655984" cy="369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2652294" y="2621911"/>
            <a:ext cx="1176756" cy="545151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lvl="4"/>
            <a:endParaRPr lang="en-US" sz="900" dirty="0" smtClean="0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2" name="Rectangle 81"/>
          <p:cNvSpPr/>
          <p:nvPr/>
        </p:nvSpPr>
        <p:spPr bwMode="auto">
          <a:xfrm>
            <a:off x="2652294" y="2623499"/>
            <a:ext cx="100776" cy="12223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>
                <a:solidFill>
                  <a:schemeClr val="bg1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1</a:t>
            </a:r>
            <a:endParaRPr kumimoji="0" lang="en-US" sz="1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4053840" y="2639787"/>
            <a:ext cx="5442584" cy="1223554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lvl="4"/>
            <a:endParaRPr lang="en-US" sz="900" dirty="0" smtClean="0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5" name="Rectangle 84"/>
          <p:cNvSpPr/>
          <p:nvPr/>
        </p:nvSpPr>
        <p:spPr bwMode="auto">
          <a:xfrm>
            <a:off x="4061035" y="2641374"/>
            <a:ext cx="100776" cy="12223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>
                <a:solidFill>
                  <a:schemeClr val="bg1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2</a:t>
            </a:r>
            <a:endParaRPr kumimoji="0" lang="en-US" sz="1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3520546" y="5343752"/>
            <a:ext cx="7522817" cy="209550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lvl="4"/>
            <a:endParaRPr lang="en-US" sz="900" dirty="0" smtClean="0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8" name="Rectangle 87"/>
          <p:cNvSpPr/>
          <p:nvPr/>
        </p:nvSpPr>
        <p:spPr bwMode="auto">
          <a:xfrm>
            <a:off x="1984240" y="5957888"/>
            <a:ext cx="100776" cy="12223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>
                <a:solidFill>
                  <a:schemeClr val="bg1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3</a:t>
            </a:r>
            <a:endParaRPr kumimoji="0" lang="en-US" sz="1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376958" y="1467222"/>
            <a:ext cx="9119467" cy="830208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228600" lvl="0" indent="-228600">
              <a:spcBef>
                <a:spcPts val="540"/>
              </a:spcBef>
              <a:buFont typeface="+mj-lt"/>
              <a:buAutoNum type="arabicParenR"/>
              <a:defRPr/>
            </a:pP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  <a:p>
            <a:pPr marL="228600" lvl="0" indent="-228600">
              <a:spcBef>
                <a:spcPts val="540"/>
              </a:spcBef>
              <a:buFont typeface="+mj-lt"/>
              <a:buAutoNum type="arabicParenR"/>
              <a:defRPr/>
            </a:pPr>
            <a:r>
              <a:rPr lang="en-US" sz="900" dirty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</a:p>
          <a:p>
            <a:pPr marL="228600" lvl="0" indent="-228600">
              <a:spcBef>
                <a:spcPts val="540"/>
              </a:spcBef>
              <a:buFont typeface="+mj-lt"/>
              <a:buAutoNum type="arabicParenR"/>
              <a:defRPr/>
            </a:pPr>
            <a:r>
              <a:rPr lang="en-US" sz="900" dirty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</a:p>
          <a:p>
            <a:pPr marL="228600" lvl="0" indent="-228600">
              <a:spcBef>
                <a:spcPts val="540"/>
              </a:spcBef>
              <a:buFont typeface="+mj-lt"/>
              <a:buAutoNum type="arabicParenR"/>
              <a:defRPr/>
            </a:pPr>
            <a:r>
              <a:rPr lang="en-US" sz="900" dirty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408798" y="6435766"/>
            <a:ext cx="1563125" cy="1095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20492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4446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585" name="think-cell Slide" r:id="rId48" imgW="470" imgH="469" progId="TCLayout.ActiveDocument.1">
                  <p:embed/>
                </p:oleObj>
              </mc:Choice>
              <mc:Fallback>
                <p:oleObj name="think-cell Slide" r:id="rId48" imgW="470" imgH="469" progId="TCLayout.ActiveDocument.1">
                  <p:embed/>
                  <p:pic>
                    <p:nvPicPr>
                      <p:cNvPr id="33" name="Object 3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1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3366"/>
                </a:solidFill>
                <a:sym typeface="VWAG TheSans" panose="020B0502050302020203" pitchFamily="34" charset="0"/>
              </a:rPr>
              <a:t>FAW-VW Audi </a:t>
            </a:r>
            <a:r>
              <a:rPr lang="de-DE" dirty="0" smtClean="0">
                <a:solidFill>
                  <a:srgbClr val="003366"/>
                </a:solidFill>
                <a:sym typeface="VWAG TheSans" panose="020B0502050302020203" pitchFamily="34" charset="0"/>
              </a:rPr>
              <a:t>NEV </a:t>
            </a:r>
            <a:r>
              <a:rPr lang="en-US" dirty="0" smtClean="0">
                <a:sym typeface="VWAG TheSans" panose="020B0502050302020203" pitchFamily="34" charset="0"/>
              </a:rPr>
              <a:t>PR69.OP </a:t>
            </a:r>
            <a:r>
              <a:rPr lang="en-US" dirty="0">
                <a:sym typeface="VWAG TheSans" panose="020B0502050302020203" pitchFamily="34" charset="0"/>
              </a:rPr>
              <a:t>Volume Planning 2020-20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94" name="Chart 9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23274331"/>
              </p:ext>
            </p:extLst>
          </p:nvPr>
        </p:nvGraphicFramePr>
        <p:xfrm>
          <a:off x="1143000" y="2249488"/>
          <a:ext cx="8435975" cy="326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53" name="Rectangle 52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4181475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8C146DF-0F40-456D-BC80-3A28707C0258}" type="datetime'''''''''2''''''''''''''''0''''''''2''''''''''''''3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3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3486150" y="3541713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AF75CF9-ACED-40EC-94C6-5FD481513550}" type="datetime'''''''4''''''''''''.''0''''''''''''%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.0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7686675" y="44767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24092C7-D2F1-4690-971E-F20860FD93FD}" type="datetime'''''''''''''''''''''''''''''''''''50''''''''''''''''''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106613" y="3663950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6E4D7EF-515C-46C3-929E-B2F08099BD32}" type="datetime'''''''2.''''''''''''''''''''''''''''''0''%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.0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423988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DC555D-75C8-4075-B3A7-F155604256C4}" type="datetime'''''''''''''''''''''''''''''''''''2''019''''''''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4929188" y="47863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BB76E42-3FAA-40F0-B19B-ADF23153B1CC}" type="datetime'''''''''3''''''''''''''''''''''''''''0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1417638" y="374808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CA0F09B-7913-485F-ABDF-9684B43644BC}" type="datetime'''''''''''''''''1.''0''''''''''''''%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.0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6248400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A753E98-D0D7-4DDD-9DBB-B6956B0B7AC3}" type="datetime'''''''''''''''''''2''''''02''''''''''6''''''''''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2112963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4972B52-CA4A-4771-8A8E-3170475E3563}" type="datetime'''2''''''''''''''''''''''''''''''0''''''''''2''0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0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2860675" y="50180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125C9B9-F61B-4401-8CD6-69A0DA8927A9}" type="datetime'''''''''''1''''''''''''''5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5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3492500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6904E4-2E7D-42C3-96F3-22A0B69887BF}" type="datetime'''''''''''''''''''''''''''''''20''2''''''''2''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2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6937375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0DA44C2-1E8C-4C31-98EB-6F7A6F997253}" type="datetime'20''''''''''''''''''''''''''''2''''''''''''''''''''7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7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2795588" y="360997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3B2EEFA-DACD-4672-9068-FAE9B2D18EB6}" type="datetime'''''''''''''''''3.''''''0''''''%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.0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2801938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7792743-77A7-486E-A8C5-94B87944C873}" type="datetime'2''''''0''''''''''''''''''''''2''''''1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1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4175125" y="34734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A625193-C5B2-4BCB-AE13-FB8C595F33AA}" type="datetime'5''''''''''''.0''''''''''%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5.0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4864100" y="34036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BB62FEF-95F1-4CB1-8CFD-D050D3E13514}" type="datetime'''6''''''''''''''''''.''0''''''''''%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6.0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4870450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923BA03-0CC9-44E0-A944-C394AB7620B7}" type="datetime'''''2''''''''''''''''''0''''''''2''''4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8316913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E9C2172-B609-48DC-8E92-EBD21802F01A}" type="datetime'2''''''''''''''''0''''''''''''''''''''''2''''''9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9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5559425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21C013D-A6F6-4E76-BBE0-9E3FAC926FFF}" type="datetime'2''''''''''''''''0''''''''25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6242050" y="326707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4078964-BDC4-4EE2-96A8-9C31D53F55C8}" type="datetime'''''''''''''8''''''.''''''''''''''0%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8.0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6931025" y="3197225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9FED9C5-EB2E-4C8A-AA8C-717E769C4086}" type="datetime'9.''''0''''''''%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9.0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7586663" y="3128963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0FD98DD-BE6D-4B7D-B9F9-C803AF3F46A6}" type="datetime'''1''0''.''''''''''''''''''''''0''%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0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7627938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CEEE84-0EED-46DF-9ECC-E2A2CA44AD1D}" type="datetime'2''''''''''''''''''''''''''0''2''''''''''''''''''8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8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8275638" y="3060700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0EC9278-48A3-44BD-B2BE-8A4F2FA9A113}" type="datetime'''''''''''''''''''''''''''''''''''1''1''''.''''''''0''''''%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1.0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8964613" y="2974975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3D30929-D65C-48FC-AFC4-94D26A38652A}" type="datetime'''''''''''''''1''''''''''''''''2''''''''.''''''0''''%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2.0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9005888" y="5470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77E817D-8C93-4FBA-ACE4-7EF979B8B551}" type="datetime'''''''''''''''''2''''''0''''''3''''''0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1517650" y="5233988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399FA82-0813-4863-B4D7-A58AC300B428}" type="datetime'''''''''''''1'''''''''''''''''''''''''''">
              <a:rPr lang="en-US" altLang="en-US" sz="1000" b="1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2171700" y="5080000"/>
            <a:ext cx="1746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CB1020F-D6EB-4848-AB22-302718015324}" type="datetime'''''''''''''''''1''''''''''''''0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3551238" y="49403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69DBACF-DDEE-454E-BE4E-4F1F3497F8DB}" type="datetime'''''''''''''2''''''''0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4240213" y="48625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6429479-BB63-4C39-9CA1-8C9AF41DC879}" type="datetime'''''''''''''''''''''''''''''''''''''''''''''''2''''5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5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5618163" y="47085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B6BE66F-AF25-44A8-A82B-D6DF24C6487D}" type="datetime'''''''''3''''''''''''''''''''''''''5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35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6307138" y="46307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CFEF1BA-C750-4EA7-85BD-D71FA8709C00}" type="datetime'''''4''''''''''0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6996113" y="45529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526119C-1D45-43C7-AA05-9D7B2445DCB4}" type="datetime'''''''''''''4''''''''''''''''''''''''5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45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9064625" y="4305300"/>
            <a:ext cx="1746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66053A7-7228-41B7-8C35-9DFB549723A0}" type="datetime'''''''''''''''''''''''''''''''''''6''''''''''0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6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8375650" y="4383088"/>
            <a:ext cx="1746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4B3909D-1047-4ABD-B09C-830FDAC14DE7}" type="datetime'''''''''''''''''5''''5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55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5553075" y="333533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11C07DF-9897-4FBB-9E26-4A0BE2BE6CA8}" type="datetime'''7''''''''''''''.''''''''''''''''''''''''0''''''''%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7.0%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cxnSp>
        <p:nvCxnSpPr>
          <p:cNvPr id="75" name="Straight Connector 74"/>
          <p:cNvCxnSpPr/>
          <p:nvPr>
            <p:custDataLst>
              <p:tags r:id="rId41"/>
            </p:custDataLst>
          </p:nvPr>
        </p:nvCxnSpPr>
        <p:spPr bwMode="auto">
          <a:xfrm>
            <a:off x="612775" y="3051175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6" name="Rectangle 75"/>
          <p:cNvSpPr/>
          <p:nvPr>
            <p:custDataLst>
              <p:tags r:id="rId42"/>
            </p:custDataLst>
          </p:nvPr>
        </p:nvSpPr>
        <p:spPr bwMode="auto">
          <a:xfrm>
            <a:off x="642938" y="3171825"/>
            <a:ext cx="142875" cy="106363"/>
          </a:xfrm>
          <a:prstGeom prst="rect">
            <a:avLst/>
          </a:prstGeom>
          <a:solidFill>
            <a:srgbClr val="007770"/>
          </a:solidFill>
          <a:ln w="3175" cap="flat" cmpd="sng" algn="ctr">
            <a:solidFill>
              <a:srgbClr val="026F4E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7" name="Oval 76"/>
          <p:cNvSpPr/>
          <p:nvPr>
            <p:custDataLst>
              <p:tags r:id="rId43"/>
            </p:custDataLst>
          </p:nvPr>
        </p:nvSpPr>
        <p:spPr bwMode="auto">
          <a:xfrm>
            <a:off x="658813" y="3025775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836613" y="3167063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NEV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836613" y="2994025"/>
            <a:ext cx="7096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lnSpc>
                <a:spcPct val="100000"/>
              </a:lnSpc>
              <a:spcAft>
                <a:spcPct val="0"/>
              </a:spcAft>
            </a:pPr>
            <a:fld id="{14AFBC45-F272-4B7F-814C-5A7032E9D24B}" type="datetime'P''''''r''em''''''''''''. ''''''''''NE''''V ''''''MS%'''''''''">
              <a:rPr lang="en-US" altLang="en-US" sz="8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lvl="0">
                <a:lnSpc>
                  <a:spcPct val="100000"/>
                </a:lnSpc>
                <a:spcAft>
                  <a:spcPct val="0"/>
                </a:spcAft>
              </a:pPr>
              <a:t>Prem. NEV MS%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82" name="Table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5120557"/>
              </p:ext>
            </p:extLst>
          </p:nvPr>
        </p:nvGraphicFramePr>
        <p:xfrm>
          <a:off x="401445" y="5481889"/>
          <a:ext cx="9112675" cy="78834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827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7361">
                  <a:extLst>
                    <a:ext uri="{9D8B030D-6E8A-4147-A177-3AD203B41FA5}">
                      <a16:colId xmlns:a16="http://schemas.microsoft.com/office/drawing/2014/main" val="2599429167"/>
                    </a:ext>
                  </a:extLst>
                </a:gridCol>
                <a:gridCol w="657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504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baseline="0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Vol. by </a:t>
                      </a:r>
                      <a:r>
                        <a:rPr lang="en-US" altLang="zh-CN" sz="900" u="none" strike="noStrike" baseline="0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yp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19A</a:t>
                      </a:r>
                      <a:endParaRPr lang="en-US" sz="900" b="1" i="0" u="none" strike="noStrike" dirty="0" smtClean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297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QB</a:t>
                      </a:r>
                    </a:p>
                  </a:txBody>
                  <a:tcPr marR="9525" marT="9525" marB="9144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5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5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5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2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2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2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306713"/>
                  </a:ext>
                </a:extLst>
              </a:tr>
              <a:tr h="179297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LB</a:t>
                      </a:r>
                    </a:p>
                  </a:txBody>
                  <a:tcPr marR="9525" marT="9525" marB="9144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5 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5 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2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2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28088"/>
                  </a:ext>
                </a:extLst>
              </a:tr>
              <a:tr h="179297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EB</a:t>
                      </a:r>
                    </a:p>
                  </a:txBody>
                  <a:tcPr marR="9525" marT="9525" marB="9144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5 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5 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5 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20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5" name="TextBox 84"/>
          <p:cNvSpPr txBox="1"/>
          <p:nvPr/>
        </p:nvSpPr>
        <p:spPr>
          <a:xfrm>
            <a:off x="541446" y="2525713"/>
            <a:ext cx="655984" cy="20637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387638" y="1628174"/>
            <a:ext cx="9119467" cy="305500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228600" indent="-228600">
              <a:spcBef>
                <a:spcPts val="0"/>
              </a:spcBef>
              <a:buFont typeface="+mj-lt"/>
              <a:buAutoNum type="arabicParenR"/>
            </a:pPr>
            <a:r>
              <a:rPr lang="en-US" sz="900" dirty="0" smtClean="0"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1856754" y="3303865"/>
            <a:ext cx="7522817" cy="679106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lvl="4"/>
            <a:endParaRPr lang="en-US" sz="900" dirty="0" smtClean="0"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3" name="Rectangle 82"/>
          <p:cNvSpPr/>
          <p:nvPr/>
        </p:nvSpPr>
        <p:spPr bwMode="auto">
          <a:xfrm>
            <a:off x="1867388" y="3305452"/>
            <a:ext cx="100776" cy="12223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>
                <a:solidFill>
                  <a:schemeClr val="bg1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1</a:t>
            </a:r>
            <a:endParaRPr kumimoji="0" lang="en-US" sz="10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408798" y="6435766"/>
            <a:ext cx="1563125" cy="1095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29547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9912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609" name="think-cell Slide" r:id="rId28" imgW="470" imgH="469" progId="TCLayout.ActiveDocument.1">
                  <p:embed/>
                </p:oleObj>
              </mc:Choice>
              <mc:Fallback>
                <p:oleObj name="think-cell Slide" r:id="rId28" imgW="470" imgH="469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12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VWAG TheSans" panose="020B0502050302020203" pitchFamily="34" charset="0"/>
              </a:rPr>
              <a:t>FAW-VW Audi PR69.OP vs. PR69.SP </a:t>
            </a:r>
            <a:r>
              <a:rPr lang="en-US" dirty="0">
                <a:sym typeface="VWAG TheSans" panose="020B0502050302020203" pitchFamily="34" charset="0"/>
              </a:rPr>
              <a:t>- Acc. </a:t>
            </a:r>
            <a:r>
              <a:rPr lang="en-US" dirty="0" smtClean="0">
                <a:sym typeface="VWAG TheSans" panose="020B0502050302020203" pitchFamily="34" charset="0"/>
              </a:rPr>
              <a:t>Volumes (2020-2030)</a:t>
            </a:r>
            <a:endParaRPr lang="en-US" dirty="0">
              <a:sym typeface="VWAG TheSans" panose="020B0502050302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cxnSp>
        <p:nvCxnSpPr>
          <p:cNvPr id="9" name="Straight Connector 8"/>
          <p:cNvCxnSpPr/>
          <p:nvPr>
            <p:custDataLst>
              <p:tags r:id="rId4"/>
            </p:custDataLst>
          </p:nvPr>
        </p:nvCxnSpPr>
        <p:spPr bwMode="auto">
          <a:xfrm>
            <a:off x="4318000" y="2135188"/>
            <a:ext cx="98107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/>
          <p:cNvCxnSpPr/>
          <p:nvPr>
            <p:custDataLst>
              <p:tags r:id="rId5"/>
            </p:custDataLst>
          </p:nvPr>
        </p:nvCxnSpPr>
        <p:spPr bwMode="auto">
          <a:xfrm>
            <a:off x="2109788" y="2311400"/>
            <a:ext cx="98107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6"/>
            </p:custDataLst>
          </p:nvPr>
        </p:nvCxnSpPr>
        <p:spPr bwMode="auto">
          <a:xfrm>
            <a:off x="6526213" y="2647950"/>
            <a:ext cx="98107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53" name="Chart 52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88230602"/>
              </p:ext>
            </p:extLst>
          </p:nvPr>
        </p:nvGraphicFramePr>
        <p:xfrm>
          <a:off x="309563" y="2052638"/>
          <a:ext cx="8997950" cy="2913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 useBgFill="1">
        <p:nvSpPr>
          <p:cNvPr id="40" name="Freeform 39"/>
          <p:cNvSpPr/>
          <p:nvPr>
            <p:custDataLst>
              <p:tags r:id="rId8"/>
            </p:custDataLst>
          </p:nvPr>
        </p:nvSpPr>
        <p:spPr bwMode="auto">
          <a:xfrm>
            <a:off x="836613" y="3559175"/>
            <a:ext cx="1319213" cy="412751"/>
          </a:xfrm>
          <a:custGeom>
            <a:avLst/>
            <a:gdLst/>
            <a:ahLst/>
            <a:cxnLst/>
            <a:rect l="0" t="0" r="0" b="0"/>
            <a:pathLst>
              <a:path w="1319213" h="412751">
                <a:moveTo>
                  <a:pt x="0" y="355600"/>
                </a:moveTo>
                <a:lnTo>
                  <a:pt x="1319212" y="0"/>
                </a:lnTo>
                <a:lnTo>
                  <a:pt x="1319212" y="57150"/>
                </a:lnTo>
                <a:lnTo>
                  <a:pt x="0" y="41275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45" name="Freeform 44"/>
          <p:cNvSpPr/>
          <p:nvPr>
            <p:custDataLst>
              <p:tags r:id="rId9"/>
            </p:custDataLst>
          </p:nvPr>
        </p:nvSpPr>
        <p:spPr bwMode="auto">
          <a:xfrm>
            <a:off x="7461250" y="3559175"/>
            <a:ext cx="1319214" cy="412751"/>
          </a:xfrm>
          <a:custGeom>
            <a:avLst/>
            <a:gdLst/>
            <a:ahLst/>
            <a:cxnLst/>
            <a:rect l="0" t="0" r="0" b="0"/>
            <a:pathLst>
              <a:path w="1319214" h="412751">
                <a:moveTo>
                  <a:pt x="0" y="355600"/>
                </a:moveTo>
                <a:lnTo>
                  <a:pt x="1319213" y="0"/>
                </a:lnTo>
                <a:lnTo>
                  <a:pt x="1319213" y="57150"/>
                </a:lnTo>
                <a:lnTo>
                  <a:pt x="0" y="41275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Freeform 42"/>
          <p:cNvSpPr/>
          <p:nvPr>
            <p:custDataLst>
              <p:tags r:id="rId10"/>
            </p:custDataLst>
          </p:nvPr>
        </p:nvSpPr>
        <p:spPr bwMode="auto">
          <a:xfrm>
            <a:off x="7461250" y="3616325"/>
            <a:ext cx="1319214" cy="355601"/>
          </a:xfrm>
          <a:custGeom>
            <a:avLst/>
            <a:gdLst/>
            <a:ahLst/>
            <a:cxnLst/>
            <a:rect l="0" t="0" r="0" b="0"/>
            <a:pathLst>
              <a:path w="1319214" h="355601">
                <a:moveTo>
                  <a:pt x="0" y="355600"/>
                </a:moveTo>
                <a:lnTo>
                  <a:pt x="1319213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Freeform 40"/>
          <p:cNvSpPr/>
          <p:nvPr>
            <p:custDataLst>
              <p:tags r:id="rId11"/>
            </p:custDataLst>
          </p:nvPr>
        </p:nvSpPr>
        <p:spPr bwMode="auto">
          <a:xfrm>
            <a:off x="7461250" y="3559175"/>
            <a:ext cx="1319214" cy="355601"/>
          </a:xfrm>
          <a:custGeom>
            <a:avLst/>
            <a:gdLst/>
            <a:ahLst/>
            <a:cxnLst/>
            <a:rect l="0" t="0" r="0" b="0"/>
            <a:pathLst>
              <a:path w="1319214" h="355601">
                <a:moveTo>
                  <a:pt x="0" y="355600"/>
                </a:moveTo>
                <a:lnTo>
                  <a:pt x="1319213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Freeform 34"/>
          <p:cNvSpPr/>
          <p:nvPr>
            <p:custDataLst>
              <p:tags r:id="rId12"/>
            </p:custDataLst>
          </p:nvPr>
        </p:nvSpPr>
        <p:spPr bwMode="auto">
          <a:xfrm>
            <a:off x="836613" y="3559175"/>
            <a:ext cx="1319213" cy="355601"/>
          </a:xfrm>
          <a:custGeom>
            <a:avLst/>
            <a:gdLst/>
            <a:ahLst/>
            <a:cxnLst/>
            <a:rect l="0" t="0" r="0" b="0"/>
            <a:pathLst>
              <a:path w="1319213" h="355601">
                <a:moveTo>
                  <a:pt x="0" y="355600"/>
                </a:moveTo>
                <a:lnTo>
                  <a:pt x="13192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Freeform 35"/>
          <p:cNvSpPr/>
          <p:nvPr>
            <p:custDataLst>
              <p:tags r:id="rId13"/>
            </p:custDataLst>
          </p:nvPr>
        </p:nvSpPr>
        <p:spPr bwMode="auto">
          <a:xfrm>
            <a:off x="836613" y="3616325"/>
            <a:ext cx="1319213" cy="355601"/>
          </a:xfrm>
          <a:custGeom>
            <a:avLst/>
            <a:gdLst/>
            <a:ahLst/>
            <a:cxnLst/>
            <a:rect l="0" t="0" r="0" b="0"/>
            <a:pathLst>
              <a:path w="1319213" h="355601">
                <a:moveTo>
                  <a:pt x="0" y="355600"/>
                </a:moveTo>
                <a:lnTo>
                  <a:pt x="13192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9" name="Straight Connector 18"/>
          <p:cNvCxnSpPr/>
          <p:nvPr>
            <p:custDataLst>
              <p:tags r:id="rId14"/>
            </p:custDataLst>
          </p:nvPr>
        </p:nvCxnSpPr>
        <p:spPr bwMode="auto">
          <a:xfrm>
            <a:off x="1495424" y="1970088"/>
            <a:ext cx="662463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Connector 17"/>
          <p:cNvCxnSpPr/>
          <p:nvPr>
            <p:custDataLst>
              <p:tags r:id="rId15"/>
            </p:custDataLst>
          </p:nvPr>
        </p:nvCxnSpPr>
        <p:spPr bwMode="auto">
          <a:xfrm flipV="1">
            <a:off x="1495425" y="1970088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16"/>
            </p:custDataLst>
          </p:nvPr>
        </p:nvCxnSpPr>
        <p:spPr bwMode="auto">
          <a:xfrm>
            <a:off x="8120063" y="1970088"/>
            <a:ext cx="0" cy="41275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9" name="Rectangle 58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3478213" y="2054225"/>
            <a:ext cx="450850" cy="33655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84CFF3E-B547-4B81-99E6-3765566C39B7}" type="datetime'''''''''''''''''''''''''''''''2''''''2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2</a:t>
            </a:fld>
            <a:endParaRPr lang="en-US" altLang="en-US" sz="1000" b="1" dirty="0" smtClean="0">
              <a:ea typeface="+mj-ea"/>
              <a:cs typeface="+mj-cs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ea typeface="+mj-ea"/>
                <a:cs typeface="+mj-cs"/>
                <a:sym typeface="VWAG TheSans" panose="020B0502050302020203" pitchFamily="34" charset="0"/>
              </a:rPr>
              <a:t>(+0.3%)</a:t>
            </a: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1038225" y="4926013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BA77412-7551-4B15-BFEB-D43C8E5799EF}" type="datetime' PR''''69''.''''''''SP ''''''''O''''ff''''i''''ci''a''l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3146425" y="4926013"/>
            <a:ext cx="11160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9AD991E-A791-4645-944D-5EB642EFF010}" type="datetime'''P''r''em. ''''''M''''a''''''r''''''ket ''''Effec''''''t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Prem. Market Effect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5700713" y="2222500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C670D3B-263C-4B74-89FA-497E2DA315C1}" type="datetime'''''''''''''''-''''''''6''''''''''''''''''''''''''''''''5'''''">
              <a:rPr lang="en-US" altLang="en-US" sz="10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-65</a:t>
            </a:fld>
            <a:endParaRPr lang="en-US" altLang="en-US" sz="1000" b="1" dirty="0" smtClean="0">
              <a:solidFill>
                <a:schemeClr val="bg1"/>
              </a:solidFill>
              <a:ea typeface="+mj-ea"/>
              <a:cs typeface="+mj-cs"/>
            </a:endParaRPr>
          </a:p>
          <a:p>
            <a:pPr algn="ctr">
              <a:spcAft>
                <a:spcPct val="0"/>
              </a:spcAft>
            </a:pPr>
            <a:r>
              <a:rPr lang="en-US" sz="1000" b="1" noProof="0" dirty="0" smtClean="0">
                <a:solidFill>
                  <a:schemeClr val="bg1"/>
                </a:solidFill>
                <a:ea typeface="+mj-ea"/>
                <a:cs typeface="+mj-cs"/>
                <a:sym typeface="VWAG TheSans" panose="020B0502050302020203" pitchFamily="34" charset="0"/>
              </a:rPr>
              <a:t>(-0.9%)</a:t>
            </a: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5553075" y="4926013"/>
            <a:ext cx="717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05EE76-03FD-4589-9195-81D4C6D8E8FC}" type="datetime'''''Pe''''''r''''f''''or''''m''''''''''''''an''''c''''''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erformanc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7862888" y="4926013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3F54BCE-66FC-43B5-B933-6CAC2B38469F}" type="datetime''' ''P''''''''''''''''R''''''''''''''''6''''''9''.''''OP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1285875" y="2084388"/>
            <a:ext cx="4206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7E94E1F-3F3C-4077-8A34-76B8E734D83A}" type="datetime'''6,''''''''''''''84''''''''''''''6'''''''''''">
              <a:rPr lang="en-US" altLang="en-US" sz="1200" b="1" smtClean="0">
                <a:solidFill>
                  <a:srgbClr val="000000"/>
                </a:solidFill>
                <a:sym typeface="VWAG TheSans" panose="020B0502050302020203" pitchFamily="34" charset="0"/>
              </a:rPr>
              <a:pPr lvl="0" algn="ctr">
                <a:spcAft>
                  <a:spcPct val="0"/>
                </a:spcAft>
                <a:defRPr/>
              </a:pPr>
              <a:t>6,846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7910513" y="2420938"/>
            <a:ext cx="4206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59DDA8E-7457-4F8E-A5C7-48DEF806BAFE}" type="datetime'''''''6'''''''''',''''''''''''''8''0''''3''''''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6,803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34" name="Oval 3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4476750" y="1684338"/>
            <a:ext cx="660400" cy="5715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4087E0E-A648-486D-A464-DA35DC7DC6AA}" type="datetime'''''''''''-''4''''''''''''''''''''''''''''''''3'''''''''''''''">
              <a:rPr lang="en-US" altLang="en-US" sz="12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3</a:t>
            </a:fld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  <a:t/>
            </a:r>
            <a:b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</a:br>
            <a:r>
              <a:rPr kumimoji="0" lang="en-US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  <a:t>(</a:t>
            </a:r>
            <a:fld id="{E00DBF3E-A4BB-41CF-867B-DBB68C63F875}" type="datetime'''''''-''''0''''''''''''''.''''''''''''''''6''''''''''''%'">
              <a:rPr lang="en-US" altLang="en-US" sz="12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0.6%</a:t>
            </a:fld>
            <a:r>
              <a:rPr kumimoji="0" lang="en-US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VWAG TheSans" panose="020B0502050302020203" pitchFamily="34" charset="0"/>
              </a:rPr>
              <a:t>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67333" y="1451742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sym typeface="VWAG TheSans" panose="020B0502050302020203" pitchFamily="34" charset="0"/>
              </a:rPr>
              <a:t>units</a:t>
            </a: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232137"/>
              </p:ext>
            </p:extLst>
          </p:nvPr>
        </p:nvGraphicFramePr>
        <p:xfrm>
          <a:off x="392118" y="5182251"/>
          <a:ext cx="8833104" cy="1143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331609715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Vol. Change by Factors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em. Market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oduct 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Cycle</a:t>
                      </a:r>
                      <a:r>
                        <a:rPr lang="en-US" sz="900" b="1" u="none" strike="noStrike" baseline="0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6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</a:tbl>
          </a:graphicData>
        </a:graphic>
      </p:graphicFrame>
      <p:sp>
        <p:nvSpPr>
          <p:cNvPr id="38" name="TextBox 37"/>
          <p:cNvSpPr txBox="1"/>
          <p:nvPr/>
        </p:nvSpPr>
        <p:spPr>
          <a:xfrm>
            <a:off x="408798" y="6435766"/>
            <a:ext cx="1563125" cy="1095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Year 2020 FC5+7</a:t>
            </a:r>
            <a:endParaRPr lang="en-US" sz="800" dirty="0">
              <a:latin typeface="+mj-lt"/>
            </a:endParaRPr>
          </a:p>
        </p:txBody>
      </p:sp>
      <p:graphicFrame>
        <p:nvGraphicFramePr>
          <p:cNvPr id="49" name="Table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5038352"/>
              </p:ext>
            </p:extLst>
          </p:nvPr>
        </p:nvGraphicFramePr>
        <p:xfrm>
          <a:off x="2986477" y="2757361"/>
          <a:ext cx="1409700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3730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405970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0930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KT Effects  </a:t>
                      </a:r>
                      <a:r>
                        <a:rPr kumimoji="0" lang="en-US" sz="9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0-2030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5%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855373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V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.1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698768"/>
                  </a:ext>
                </a:extLst>
              </a:tr>
              <a:tr h="946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mium Marke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0.0%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401156"/>
                  </a:ext>
                </a:extLst>
              </a:tr>
            </a:tbl>
          </a:graphicData>
        </a:graphic>
      </p:graphicFrame>
      <p:graphicFrame>
        <p:nvGraphicFramePr>
          <p:cNvPr id="39" name="Table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0271672"/>
              </p:ext>
            </p:extLst>
          </p:nvPr>
        </p:nvGraphicFramePr>
        <p:xfrm>
          <a:off x="5290562" y="2801536"/>
          <a:ext cx="1248355" cy="7255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6501">
                  <a:extLst>
                    <a:ext uri="{9D8B030D-6E8A-4147-A177-3AD203B41FA5}">
                      <a16:colId xmlns:a16="http://schemas.microsoft.com/office/drawing/2014/main" val="2514292210"/>
                    </a:ext>
                  </a:extLst>
                </a:gridCol>
                <a:gridCol w="321854">
                  <a:extLst>
                    <a:ext uri="{9D8B030D-6E8A-4147-A177-3AD203B41FA5}">
                      <a16:colId xmlns:a16="http://schemas.microsoft.com/office/drawing/2014/main" val="3647374340"/>
                    </a:ext>
                  </a:extLst>
                </a:gridCol>
              </a:tblGrid>
              <a:tr h="152310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altLang="zh-CN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CE</a:t>
                      </a:r>
                      <a:r>
                        <a:rPr lang="en-US" altLang="zh-CN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-64</a:t>
                      </a:r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204747"/>
                  </a:ext>
                </a:extLst>
              </a:tr>
              <a:tr h="15231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A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57</a:t>
                      </a:r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9947184"/>
                  </a:ext>
                </a:extLst>
              </a:tr>
              <a:tr h="15231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Other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7</a:t>
                      </a:r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4420080"/>
                  </a:ext>
                </a:extLst>
              </a:tr>
              <a:tr h="129678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n-US" altLang="zh-CN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EV</a:t>
                      </a:r>
                      <a:r>
                        <a:rPr lang="en-US" altLang="zh-CN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-1</a:t>
                      </a:r>
                      <a:endParaRPr lang="en-US" sz="900" b="1" i="0" u="none" strike="noStrike" dirty="0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1273247"/>
                  </a:ext>
                </a:extLst>
              </a:tr>
              <a:tr h="12967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e-</a:t>
                      </a:r>
                      <a:r>
                        <a:rPr lang="en-US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tron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</a:t>
                      </a:r>
                      <a:endParaRPr lang="en-US" sz="8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64422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262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392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lang="en-US" sz="20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012175" y="1759814"/>
            <a:ext cx="5882779" cy="4086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Total Marke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411132" y="1759814"/>
            <a:ext cx="422030" cy="4086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1</a:t>
            </a: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411132" y="2350542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2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411132" y="2942380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br>
              <a:rPr lang="en-US" dirty="0"/>
            </a:br>
            <a:endParaRPr lang="en-US" dirty="0"/>
          </a:p>
        </p:txBody>
      </p:sp>
      <p:sp>
        <p:nvSpPr>
          <p:cNvPr id="2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31" name="Rectangle 4"/>
          <p:cNvSpPr>
            <a:spLocks noChangeArrowheads="1"/>
          </p:cNvSpPr>
          <p:nvPr/>
        </p:nvSpPr>
        <p:spPr bwMode="auto">
          <a:xfrm>
            <a:off x="411132" y="3534218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4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1012175" y="2350542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</a:t>
            </a:r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FAW-VW</a:t>
            </a:r>
            <a:endParaRPr lang="en-US" altLang="zh-CN" sz="1800" b="1" dirty="0">
              <a:solidFill>
                <a:srgbClr val="FFFFFF"/>
              </a:solidFill>
              <a:latin typeface="VWAG TheSans"/>
              <a:sym typeface="VWAG TheSans"/>
            </a:endParaRPr>
          </a:p>
        </p:txBody>
      </p:sp>
      <p:sp>
        <p:nvSpPr>
          <p:cNvPr id="24" name="Rectangle 4"/>
          <p:cNvSpPr>
            <a:spLocks noChangeArrowheads="1"/>
          </p:cNvSpPr>
          <p:nvPr/>
        </p:nvSpPr>
        <p:spPr bwMode="auto">
          <a:xfrm>
            <a:off x="1012175" y="2942380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</a:t>
            </a:r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–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FAW-VW VW + Jetta</a:t>
            </a:r>
          </a:p>
        </p:txBody>
      </p:sp>
      <p:sp>
        <p:nvSpPr>
          <p:cNvPr id="25" name="Rectangle 4"/>
          <p:cNvSpPr>
            <a:spLocks noChangeArrowheads="1"/>
          </p:cNvSpPr>
          <p:nvPr/>
        </p:nvSpPr>
        <p:spPr bwMode="auto">
          <a:xfrm>
            <a:off x="1012175" y="3534218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FAW-VW </a:t>
            </a:r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Audi CKD</a:t>
            </a:r>
            <a:endParaRPr lang="en-US" altLang="zh-CN" sz="1800" b="1" dirty="0">
              <a:solidFill>
                <a:srgbClr val="FFFFFF"/>
              </a:solidFill>
              <a:latin typeface="VWAG TheSans"/>
              <a:sym typeface="VWAG TheSans"/>
            </a:endParaRPr>
          </a:p>
        </p:txBody>
      </p:sp>
    </p:spTree>
    <p:extLst>
      <p:ext uri="{BB962C8B-B14F-4D97-AF65-F5344CB8AC3E}">
        <p14:creationId xmlns:p14="http://schemas.microsoft.com/office/powerpoint/2010/main" val="1808726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55816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494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altLang="zh-CN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宋体" panose="02010600030101010101" pitchFamily="2" charset="-122"/>
              <a:cs typeface="+mj-cs"/>
              <a:sym typeface="VWAG TheSans" panose="020B0502050302020203" pitchFamily="34" charset="0"/>
            </a:endParaRPr>
          </a:p>
        </p:txBody>
      </p:sp>
      <p:graphicFrame>
        <p:nvGraphicFramePr>
          <p:cNvPr id="68" name="Chart 67"/>
          <p:cNvGraphicFramePr/>
          <p:nvPr>
            <p:extLst/>
          </p:nvPr>
        </p:nvGraphicFramePr>
        <p:xfrm>
          <a:off x="359728" y="2512720"/>
          <a:ext cx="8761970" cy="3364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812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>
                <a:ea typeface="宋体" pitchFamily="2" charset="-122"/>
              </a:rPr>
              <a:t>Titel</a:t>
            </a:r>
            <a:endParaRPr lang="en-US" altLang="zh-CN" dirty="0">
              <a:latin typeface="+mj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86663" y="2021659"/>
            <a:ext cx="5549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"/>
            <a:r>
              <a:rPr lang="de-DE" altLang="zh-CN" sz="800" dirty="0" smtClean="0">
                <a:solidFill>
                  <a:srgbClr val="000000"/>
                </a:solidFill>
                <a:latin typeface="+mj-lt"/>
              </a:rPr>
              <a:t>Volume</a:t>
            </a:r>
          </a:p>
          <a:p>
            <a:pPr algn="ctr" fontAlgn="b"/>
            <a:r>
              <a:rPr lang="de-DE" altLang="zh-CN" sz="800" dirty="0" smtClean="0">
                <a:solidFill>
                  <a:srgbClr val="000000"/>
                </a:solidFill>
                <a:latin typeface="+mj-lt"/>
              </a:rPr>
              <a:t> (In Tsd.)</a:t>
            </a:r>
            <a:endParaRPr lang="en-US" altLang="zh-CN" sz="800" dirty="0">
              <a:solidFill>
                <a:srgbClr val="33434C"/>
              </a:solidFill>
              <a:latin typeface="+mj-lt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8706481" y="2873287"/>
            <a:ext cx="119951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b="1" dirty="0" smtClean="0">
                <a:solidFill>
                  <a:srgbClr val="003366"/>
                </a:solidFill>
                <a:latin typeface="+mj-lt"/>
              </a:rPr>
              <a:t>PR69 OP</a:t>
            </a:r>
            <a:endParaRPr lang="en-US" altLang="zh-CN" sz="1000" b="1" dirty="0">
              <a:solidFill>
                <a:srgbClr val="003366"/>
              </a:solidFill>
              <a:latin typeface="+mj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706481" y="2619080"/>
            <a:ext cx="85943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PR69 SP</a:t>
            </a:r>
            <a:endParaRPr lang="en-US" altLang="zh-CN" sz="1000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/>
          </p:nvPr>
        </p:nvGraphicFramePr>
        <p:xfrm>
          <a:off x="429373" y="5537552"/>
          <a:ext cx="8542707" cy="591405"/>
        </p:xfrm>
        <a:graphic>
          <a:graphicData uri="http://schemas.openxmlformats.org/drawingml/2006/table">
            <a:tbl>
              <a:tblPr firstRow="1" bandRow="1"/>
              <a:tblGrid>
                <a:gridCol w="8966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76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79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63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9522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1903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9522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764176861"/>
                    </a:ext>
                  </a:extLst>
                </a:gridCol>
              </a:tblGrid>
              <a:tr h="1971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elta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OP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Vs SP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2,700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80</a:t>
                      </a:r>
                      <a:r>
                        <a:rPr lang="en-US" altLang="zh-CN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0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068010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R69 SP GR</a:t>
                      </a: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4.5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  <a:cs typeface="Arial" panose="020B0604020202020204" pitchFamily="34" charset="0"/>
                        </a:rPr>
                        <a:t>-4.6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6.5</a:t>
                      </a:r>
                      <a:r>
                        <a:rPr lang="en-US" sz="9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0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1.4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3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4.0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4.7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5.3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5.0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4.4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3.2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7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1.7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R69 OP GR</a:t>
                      </a: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4.5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  <a:cs typeface="Arial" panose="020B0604020202020204" pitchFamily="34" charset="0"/>
                        </a:rPr>
                        <a:t>-4.6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6.5</a:t>
                      </a:r>
                      <a:r>
                        <a:rPr lang="en-US" sz="9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0.7%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11.6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6.1%</a:t>
                      </a:r>
                      <a:endParaRPr lang="en-US" sz="9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4.0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4.7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5.3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5.0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4.4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3.2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2.7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VWAG TheSans" panose="020B0502050302020203" pitchFamily="34" charset="0"/>
                        </a:rPr>
                        <a:t>1.7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384658" y="6207125"/>
            <a:ext cx="8702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latin typeface="VWAG TheSans" panose="020B0502050302020203" pitchFamily="34" charset="0"/>
                <a:cs typeface="Arial" panose="020B0604020202020204" pitchFamily="34" charset="0"/>
              </a:rPr>
              <a:t>Source: </a:t>
            </a:r>
            <a:r>
              <a:rPr lang="fr-FR" sz="1000" dirty="0" smtClean="0">
                <a:latin typeface="VWAG TheSans" panose="020B0502050302020203" pitchFamily="34" charset="0"/>
                <a:cs typeface="Arial" panose="020B0604020202020204" pitchFamily="34" charset="0"/>
              </a:rPr>
              <a:t>PR69 OP and PR69 SP</a:t>
            </a:r>
            <a:endParaRPr lang="fr-FR" sz="1000" dirty="0">
              <a:latin typeface="VWAG TheSans" panose="020B0502050302020203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747033" y="1666090"/>
            <a:ext cx="14879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1200" b="1" dirty="0" smtClean="0">
                <a:solidFill>
                  <a:srgbClr val="000000"/>
                </a:solidFill>
                <a:latin typeface="+mj-lt"/>
                <a:ea typeface="宋体" pitchFamily="2" charset="-122"/>
              </a:rPr>
              <a:t>CAGR 2025E-2030E</a:t>
            </a:r>
            <a:endParaRPr lang="en-US" sz="1200" b="1" dirty="0">
              <a:solidFill>
                <a:srgbClr val="000000"/>
              </a:solidFill>
              <a:latin typeface="+mj-lt"/>
              <a:ea typeface="宋体" pitchFamily="2" charset="-122"/>
            </a:endParaRPr>
          </a:p>
        </p:txBody>
      </p:sp>
      <p:sp>
        <p:nvSpPr>
          <p:cNvPr id="31" name="Left Brace 30"/>
          <p:cNvSpPr/>
          <p:nvPr/>
        </p:nvSpPr>
        <p:spPr bwMode="auto">
          <a:xfrm rot="5400000">
            <a:off x="7341444" y="650422"/>
            <a:ext cx="145876" cy="2697749"/>
          </a:xfrm>
          <a:prstGeom prst="leftBrace">
            <a:avLst>
              <a:gd name="adj1" fmla="val 47706"/>
              <a:gd name="adj2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>
              <a:defRPr/>
            </a:pPr>
            <a:endParaRPr lang="en-US" kern="0" dirty="0" smtClean="0">
              <a:solidFill>
                <a:srgbClr val="000000"/>
              </a:solidFill>
              <a:latin typeface="+mj-lt"/>
              <a:ea typeface="宋体" pitchFamily="2" charset="-122"/>
            </a:endParaRPr>
          </a:p>
        </p:txBody>
      </p:sp>
      <p:graphicFrame>
        <p:nvGraphicFramePr>
          <p:cNvPr id="33" name="Table 32"/>
          <p:cNvGraphicFramePr>
            <a:graphicFrameLocks noGrp="1"/>
          </p:cNvGraphicFramePr>
          <p:nvPr>
            <p:extLst/>
          </p:nvPr>
        </p:nvGraphicFramePr>
        <p:xfrm>
          <a:off x="6122775" y="2058970"/>
          <a:ext cx="2592274" cy="320040"/>
        </p:xfrm>
        <a:graphic>
          <a:graphicData uri="http://schemas.openxmlformats.org/drawingml/2006/table">
            <a:tbl>
              <a:tblPr/>
              <a:tblGrid>
                <a:gridCol w="19319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02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0324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69 SP</a:t>
                      </a:r>
                      <a:endParaRPr lang="en-US" altLang="zh-CN" sz="1000" b="0" i="0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255" marR="8255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3.4%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8255" marR="8255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032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 smtClean="0">
                          <a:solidFill>
                            <a:srgbClr val="003366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69 OP</a:t>
                      </a:r>
                      <a:endParaRPr lang="en-US" altLang="zh-CN" sz="1000" b="0" i="0" u="none" strike="noStrike" kern="1200" dirty="0" smtClean="0">
                        <a:solidFill>
                          <a:srgbClr val="0033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255" marR="8255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 smtClean="0">
                          <a:solidFill>
                            <a:srgbClr val="003366"/>
                          </a:solidFill>
                          <a:effectLst/>
                          <a:latin typeface="+mj-lt"/>
                        </a:rPr>
                        <a:t>3.4%</a:t>
                      </a:r>
                      <a:endParaRPr lang="en-US" sz="1000" b="0" i="0" u="none" strike="noStrike" dirty="0">
                        <a:solidFill>
                          <a:srgbClr val="003366"/>
                        </a:solidFill>
                        <a:effectLst/>
                        <a:latin typeface="+mj-lt"/>
                      </a:endParaRPr>
                    </a:p>
                  </a:txBody>
                  <a:tcPr marL="8255" marR="8255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6830566"/>
                  </a:ext>
                </a:extLst>
              </a:tr>
            </a:tbl>
          </a:graphicData>
        </a:graphic>
      </p:graphicFrame>
      <p:sp>
        <p:nvSpPr>
          <p:cNvPr id="34" name="TextBox 33"/>
          <p:cNvSpPr txBox="1"/>
          <p:nvPr/>
        </p:nvSpPr>
        <p:spPr>
          <a:xfrm>
            <a:off x="3931586" y="1666090"/>
            <a:ext cx="14879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1200" b="1" dirty="0" smtClean="0">
                <a:solidFill>
                  <a:srgbClr val="000000"/>
                </a:solidFill>
                <a:latin typeface="+mj-lt"/>
                <a:ea typeface="宋体" pitchFamily="2" charset="-122"/>
              </a:rPr>
              <a:t>CAGR 2020E-2025E</a:t>
            </a:r>
            <a:endParaRPr lang="en-US" sz="1200" b="1" dirty="0">
              <a:solidFill>
                <a:srgbClr val="000000"/>
              </a:solidFill>
              <a:latin typeface="+mj-lt"/>
              <a:ea typeface="宋体" pitchFamily="2" charset="-122"/>
            </a:endParaRPr>
          </a:p>
        </p:txBody>
      </p:sp>
      <p:sp>
        <p:nvSpPr>
          <p:cNvPr id="35" name="Left Brace 34"/>
          <p:cNvSpPr/>
          <p:nvPr/>
        </p:nvSpPr>
        <p:spPr bwMode="auto">
          <a:xfrm rot="5400000">
            <a:off x="4387411" y="538658"/>
            <a:ext cx="137422" cy="2921279"/>
          </a:xfrm>
          <a:prstGeom prst="leftBrace">
            <a:avLst>
              <a:gd name="adj1" fmla="val 47706"/>
              <a:gd name="adj2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>
              <a:defRPr/>
            </a:pPr>
            <a:endParaRPr lang="en-US" kern="0" dirty="0" smtClean="0">
              <a:solidFill>
                <a:srgbClr val="000000"/>
              </a:solidFill>
              <a:latin typeface="+mj-lt"/>
              <a:ea typeface="宋体" pitchFamily="2" charset="-122"/>
            </a:endParaRPr>
          </a:p>
        </p:txBody>
      </p:sp>
      <p:graphicFrame>
        <p:nvGraphicFramePr>
          <p:cNvPr id="36" name="Table 35"/>
          <p:cNvGraphicFramePr>
            <a:graphicFrameLocks noGrp="1"/>
          </p:cNvGraphicFramePr>
          <p:nvPr>
            <p:extLst/>
          </p:nvPr>
        </p:nvGraphicFramePr>
        <p:xfrm>
          <a:off x="3105590" y="2058880"/>
          <a:ext cx="2726815" cy="320040"/>
        </p:xfrm>
        <a:graphic>
          <a:graphicData uri="http://schemas.openxmlformats.org/drawingml/2006/table">
            <a:tbl>
              <a:tblPr/>
              <a:tblGrid>
                <a:gridCol w="20322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45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4764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69 SP</a:t>
                      </a:r>
                      <a:endParaRPr lang="en-US" altLang="zh-CN" sz="1000" b="0" i="0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255" marR="8255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3.5%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8255" marR="8255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47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 smtClean="0">
                          <a:solidFill>
                            <a:srgbClr val="0033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69 OP</a:t>
                      </a:r>
                      <a:endParaRPr lang="en-US" altLang="zh-CN" sz="1000" b="0" i="0" u="none" strike="noStrike" kern="1200" dirty="0" smtClean="0">
                        <a:solidFill>
                          <a:srgbClr val="00336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255" marR="8255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 smtClean="0">
                          <a:solidFill>
                            <a:srgbClr val="0033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3%</a:t>
                      </a:r>
                    </a:p>
                  </a:txBody>
                  <a:tcPr marL="8255" marR="8255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3481101"/>
                  </a:ext>
                </a:extLst>
              </a:tr>
            </a:tbl>
          </a:graphicData>
        </a:graphic>
      </p:graphicFrame>
      <p:sp>
        <p:nvSpPr>
          <p:cNvPr id="19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6854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51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97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宋体" panose="02010600030101010101" pitchFamily="2" charset="-122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ea typeface="宋体" pitchFamily="2" charset="-122"/>
              </a:rPr>
              <a:t>Titel</a:t>
            </a:r>
            <a:r>
              <a:rPr lang="en-US" dirty="0" smtClean="0">
                <a:ea typeface="宋体" pitchFamily="2" charset="-122"/>
              </a:rPr>
              <a:t/>
            </a:r>
            <a:br>
              <a:rPr lang="en-US" dirty="0" smtClean="0">
                <a:ea typeface="宋体" pitchFamily="2" charset="-122"/>
              </a:rPr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5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smtClean="0"/>
              <a:t>Group Market and Sales Steering</a:t>
            </a:r>
            <a:endParaRPr lang="de-DE" noProof="0" dirty="0"/>
          </a:p>
        </p:txBody>
      </p:sp>
      <p:graphicFrame>
        <p:nvGraphicFramePr>
          <p:cNvPr id="8" name="Chart 7"/>
          <p:cNvGraphicFramePr/>
          <p:nvPr>
            <p:extLst/>
          </p:nvPr>
        </p:nvGraphicFramePr>
        <p:xfrm>
          <a:off x="384471" y="2339946"/>
          <a:ext cx="8759530" cy="3512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037451" y="2166144"/>
            <a:ext cx="554959" cy="3381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zh-CN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Volume</a:t>
            </a:r>
          </a:p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zh-CN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 (In Tsd.)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rgbClr val="33434C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01638" y="5825473"/>
            <a:ext cx="958056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5873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Delta PR69 SP vs. OP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        </a:t>
            </a:r>
            <a:r>
              <a:rPr kumimoji="0" 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                                                                          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-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892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               </a:t>
            </a:r>
            <a:r>
              <a:rPr kumimoji="0" 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-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7</a:t>
            </a:r>
            <a:r>
              <a:rPr kumimoji="0" 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58                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-360             </a:t>
            </a:r>
            <a:r>
              <a:rPr kumimoji="0" 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  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-797                -851              -1,094                -                        -                      -                       -                       -              ∑</a:t>
            </a:r>
            <a:r>
              <a:rPr kumimoji="0" 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4,752 </a:t>
            </a:r>
            <a:endParaRPr kumimoji="0" lang="en-US" sz="80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01638" y="6002404"/>
            <a:ext cx="958056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5873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NEV% 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PR69 </a:t>
            </a:r>
            <a:r>
              <a:rPr kumimoji="0" 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OP                                                                                              5.5%               6.9%              10.0%           11.3%            14.5%             18.4%                                 </a:t>
            </a:r>
            <a:endParaRPr kumimoji="0" lang="en-US" sz="8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01638" y="6157626"/>
            <a:ext cx="958056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5873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NEV% 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PR69 </a:t>
            </a:r>
            <a:r>
              <a:rPr kumimoji="0" 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SP                                                                                               8.9%              10.1%             11.6%           14.7%            18.0%             22.7%                                </a:t>
            </a:r>
            <a:endParaRPr kumimoji="0" lang="en-US" sz="8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384246" y="1843378"/>
            <a:ext cx="5426075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u="sng" dirty="0" smtClean="0">
                <a:solidFill>
                  <a:srgbClr val="000000"/>
                </a:solidFill>
                <a:latin typeface="VWAG TheSans" panose="020B0502050302020203" pitchFamily="34" charset="0"/>
              </a:rPr>
              <a:t>PR69 </a:t>
            </a:r>
            <a:r>
              <a:rPr lang="en-US" altLang="zh-CN" sz="1600" u="sng" dirty="0">
                <a:solidFill>
                  <a:srgbClr val="000000"/>
                </a:solidFill>
                <a:latin typeface="VWAG TheSans" panose="020B0502050302020203" pitchFamily="34" charset="0"/>
              </a:rPr>
              <a:t>OP</a:t>
            </a:r>
            <a:r>
              <a:rPr lang="en-US" sz="1600" u="sng" dirty="0">
                <a:solidFill>
                  <a:srgbClr val="000000"/>
                </a:solidFill>
                <a:latin typeface="VWAG TheSans" panose="020B0502050302020203" pitchFamily="34" charset="0"/>
              </a:rPr>
              <a:t> </a:t>
            </a:r>
            <a:r>
              <a:rPr lang="en-US" sz="1600" u="sng" dirty="0" smtClean="0">
                <a:solidFill>
                  <a:srgbClr val="000000"/>
                </a:solidFill>
                <a:latin typeface="VWAG TheSans" panose="020B0502050302020203" pitchFamily="34" charset="0"/>
              </a:rPr>
              <a:t>NEV Market Development</a:t>
            </a:r>
            <a:endParaRPr lang="en-US" sz="1600" u="sng" dirty="0">
              <a:solidFill>
                <a:srgbClr val="000000"/>
              </a:solidFill>
              <a:latin typeface="VWAG TheSans" panose="020B0502050302020203" pitchFamily="34" charset="0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8487741" y="3288531"/>
            <a:ext cx="1418259" cy="524091"/>
            <a:chOff x="8078172" y="2428875"/>
            <a:chExt cx="1418259" cy="524091"/>
          </a:xfrm>
        </p:grpSpPr>
        <p:sp>
          <p:nvSpPr>
            <p:cNvPr id="23" name="Rectangle 22"/>
            <p:cNvSpPr/>
            <p:nvPr/>
          </p:nvSpPr>
          <p:spPr>
            <a:xfrm>
              <a:off x="8078172" y="2575182"/>
              <a:ext cx="1418259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VWAG TheSans" panose="020B0502050302020203" pitchFamily="34" charset="0"/>
                  <a:ea typeface="+mn-ea"/>
                  <a:cs typeface="+mn-cs"/>
                </a:rPr>
                <a:t>PR69 OP</a:t>
              </a:r>
              <a:endPara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8078172" y="2428875"/>
              <a:ext cx="837228" cy="2301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3366"/>
                  </a:solidFill>
                  <a:effectLst/>
                  <a:uLnTx/>
                  <a:uFillTx/>
                  <a:latin typeface="VWAG TheSans" panose="020B0502050302020203" pitchFamily="34" charset="0"/>
                  <a:ea typeface="+mn-ea"/>
                  <a:cs typeface="+mn-cs"/>
                </a:rPr>
                <a:t>PR69 </a:t>
              </a:r>
              <a: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66"/>
                  </a:solidFill>
                  <a:effectLst/>
                  <a:uLnTx/>
                  <a:uFillTx/>
                  <a:latin typeface="VWAG TheSans" panose="020B0502050302020203" pitchFamily="34" charset="0"/>
                  <a:ea typeface="+mn-ea"/>
                  <a:cs typeface="+mn-cs"/>
                </a:rPr>
                <a:t>S</a:t>
              </a:r>
              <a:r>
                <a:rPr kumimoji="0" lang="en-US" altLang="zh-CN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3366"/>
                  </a:solidFill>
                  <a:effectLst/>
                  <a:uLnTx/>
                  <a:uFillTx/>
                  <a:latin typeface="VWAG TheSans" panose="020B0502050302020203" pitchFamily="34" charset="0"/>
                  <a:ea typeface="+mn-ea"/>
                  <a:cs typeface="+mn-cs"/>
                </a:rPr>
                <a:t>P</a:t>
              </a:r>
              <a:endPara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8078172" y="2722134"/>
              <a:ext cx="1418259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7111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26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6994" name="think-cell Slide" r:id="rId78" imgW="493" imgH="493" progId="TCLayout.ActiveDocument.1">
                  <p:embed/>
                </p:oleObj>
              </mc:Choice>
              <mc:Fallback>
                <p:oleObj name="think-cell Slide" r:id="rId78" imgW="493" imgH="49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等线" panose="02010600030101010101" pitchFamily="2" charset="-122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/>
              <a:t>Titel</a:t>
            </a:r>
            <a:endParaRPr lang="en-US" dirty="0"/>
          </a:p>
        </p:txBody>
      </p:sp>
      <p:graphicFrame>
        <p:nvGraphicFramePr>
          <p:cNvPr id="105" name="Chart 104"/>
          <p:cNvGraphicFramePr/>
          <p:nvPr>
            <p:custDataLst>
              <p:tags r:id="rId4"/>
            </p:custDataLst>
            <p:extLst/>
          </p:nvPr>
        </p:nvGraphicFramePr>
        <p:xfrm>
          <a:off x="1244600" y="2122488"/>
          <a:ext cx="7548563" cy="2973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0"/>
          </a:graphicData>
        </a:graphic>
      </p:graphicFrame>
      <p:sp>
        <p:nvSpPr>
          <p:cNvPr id="81" name="Rectangle 80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3935413" y="268128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F364290-745F-4F7D-8E43-3AD4FC1B920D}" type="datetime'''''23''''''''''''''''''''''.''''''''''''''''4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3.4</a:t>
            </a:fld>
            <a:endParaRPr lang="en-US" sz="10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993900" y="3236913"/>
            <a:ext cx="184150" cy="150813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D7F5636-F71D-4888-A571-F51D90FC8FA6}" type="datetime'''1''.''''''''''''''''''''''1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1.1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5602288" y="2339975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FBF00CE-9AC4-4354-8191-A4E8569E248F}" type="datetime'2''7.''''''''''''''''''''''''''''1''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7.1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778000" y="302895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BA06E53-738B-46BA-9673-AB84E3A711D9}" type="datetime'''''''''1''''.''''''''''''''9''''''''''''''''''''''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1.9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638425" y="2882900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A8DAF13-17C0-4A30-8627-44E31F83A108}" type="datetime'''''2''''''1''''''''.''''''''''2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1.2</a:t>
            </a:fld>
            <a:endParaRPr lang="en-US" sz="10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33" name="Rectangle 32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6305550" y="4062414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37C0783-0F43-464D-BB6C-B128D674B4EC}" type="datetime'1''''''''''9''''''''''''''.''''''''''''''''''''2''''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9.2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" name="Rectangle 18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1311275" y="4008438"/>
            <a:ext cx="247650" cy="15081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0795C6F-9B73-460D-8CE0-8702825B62F5}" type="datetime'''''''2''''''''0''''.''''''''''''''''''''''''''''''''2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.2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1343025" y="3028950"/>
            <a:ext cx="184150" cy="150813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80C0599-FF5F-4F3C-8E27-28402BF98DBD}" type="datetime'''''1''''''''''''''''''''.''''''''''''''1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1.1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7826375" y="4100513"/>
            <a:ext cx="247650" cy="150813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100B356-FB17-4F6C-95DF-82D12A07A10A}" type="datetime'''1''''''''''8''''''.''''''''''2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18.2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23" name="Rectangle 22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1746250" y="4029075"/>
            <a:ext cx="247650" cy="150813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9DF3838-61ED-4635-A233-108D40AB20BD}" type="datetime'''''''''''''''1''''''''''''''''''''9.''''''8''''''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19.8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41" name="Rectangle 40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4970463" y="2754314"/>
            <a:ext cx="314325" cy="3016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E33C7FA-E053-4255-A9CE-669D3135508B}" type="datetime'''''''''''''''''''''5''''''''''.''8''''''''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5.8</a:t>
            </a:fld>
            <a:r>
              <a:rPr lang="en-US" altLang="en-US" sz="900" dirty="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dirty="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dirty="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F4426869-2F02-41BF-A726-7B13B97A5BF2}" type="datetime'''''''''''''''''''2''''3''''''''''''''''%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3%</a:t>
            </a:fld>
            <a:r>
              <a:rPr lang="en-US" altLang="en-US" sz="900" dirty="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1731963" y="2836863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8F73E69-00A3-4EBA-B242-848D13C4ECF6}" type="datetime'''''''''''''''2''''''''''''1''''''''''''.''7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1.7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1962150" y="4111625"/>
            <a:ext cx="247650" cy="150813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8D784AD-E159-470B-BAE5-A91D75221454}" type="datetime'18''''''.''''''''''''''0''''''''''''''''''''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18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2428875" y="301466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D82A402-4800-4B9A-A389-7AE1209B73CE}" type="datetime'2''''''''''''''''''''''''''''''''.''''2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.2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3282950" y="2763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B00FFD8-A373-4FC4-BCD9-ADBD807902E2}" type="datetime'''''''''22.''5''''''''''''''''''''''''''''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2.5</a:t>
            </a:fld>
            <a:endParaRPr lang="en-US" sz="10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2614613" y="4035426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FC8868C-E4FC-443C-8456-35D813E01609}" type="datetime'''''''1''''''''''9''''''''''''''''.''''7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9.7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646363" y="305276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2B37FCF-B06A-4123-B558-59059C0983F2}" type="datetime'''''1''''''''.''5''''''''''''''''''''''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1.5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32" name="Rectangle 31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3048000" y="4029076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5F5B592-4140-4028-9311-30D03927A358}" type="datetime'''1''''''''9''''''''''''''''.''''''''''9''''''''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9.9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7173913" y="2736850"/>
            <a:ext cx="247650" cy="150813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B14F910-E46D-4F77-8415-DD345BDC1E6F}" type="datetime'1''''''''''''0''''''''''''.''''''''''''''''''''''''''''6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10.6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3079750" y="298608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DA8D7A8-9385-4FCC-8B6D-5105EEBAC567}" type="datetime'''''''''''''''''''''''''''''''''2''''''''''.''6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.6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3265488" y="4011614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5C2EE24-A1AE-48F5-8375-9762FA2527B5}" type="datetime'''''2''''0''''''.''''''''3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3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3297238" y="29702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C256C20-1DC5-45E9-894A-B955B2062921}" type="datetime'''2''''.''''''''''''''''''''''''''2''''''''''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.2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5186363" y="3906838"/>
            <a:ext cx="314325" cy="27305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0A2206C-FCA5-4F61-B495-356616B821BB}" type="datetime'''''''2''''1''''.1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1.1</a:t>
            </a:fld>
            <a:r>
              <a:rPr lang="en-US" altLang="en-US" sz="900" dirty="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dirty="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dirty="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1A0BB0C3-799A-421C-B372-3BDEE75E3713}" type="datetime'''''''''''''''''''''8''''''''''''2''%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82%</a:t>
            </a:fld>
            <a:r>
              <a:rPr lang="en-US" altLang="en-US" sz="900" dirty="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97" name="Rectangle 96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8226425" y="2655889"/>
            <a:ext cx="314325" cy="3016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450BEE3-566F-44D1-A241-55711360067E}" type="datetime'''''1''3''.1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13.1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D6FE524A-ADF2-490E-8C20-F4679FA3AB70}" type="datetime'''''4''''''''''3''''''%''''''''''''''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43%</a:t>
            </a:fld>
            <a:r>
              <a:rPr lang="en-US" sz="90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39" name="Rectangle 38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3700463" y="4025901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809C3C0-8F3E-49DB-B3C0-BE7DF6B84DE0}" type="datetime'2''''''''''''''''0''''''''.''''0''''''''''''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12" name="Rectangle 11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6958013" y="2736850"/>
            <a:ext cx="247650" cy="150813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5FB9E36-162A-470B-864A-A2E064E2A40E}" type="datetime'''''''''''''''1''''''''0.6''''''''''''''''''''''''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10.6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3732213" y="29416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07EA1E1-CC73-4107-84A9-F0EEF7733294}" type="datetime'''''''3''''''''''.''''''''''''4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3.4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13" name="Rectangle 12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4970463" y="3957638"/>
            <a:ext cx="314325" cy="27305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035BB68-5655-47FE-9E9C-BD75C2B32F19}" type="datetime'''''''20''''''''.''''''''''''''0''''''''''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5CF7DC19-241F-44DE-9451-A49F21078A96}" type="datetime'''7''''''''''''''''''''''''7''''''''''''''''''''''''%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77%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3917950" y="3989389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40BB92A-84F1-4887-94F9-7877F0BBC38E}" type="datetime'''''''''''''2''''''''''''0''''''''''''''''.''''''''''''''8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8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63" name="Rectangle 62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7608888" y="2719388"/>
            <a:ext cx="247650" cy="150813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140C078-EB4E-4DB8-90F8-2B1CFD055C0D}" type="datetime'''''''''1''''''''''1''''''''''.''''''''''8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11.8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3949700" y="290512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35E96FD-73E0-44A5-8C80-A729F52BE627}" type="datetime'''''''''''''''''''2''.''''''''''''''''''''6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.6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6554788" y="275272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E3F7347-2867-4201-99F4-76856B41EAFB}" type="datetime'9''''.''''''''''1''''''''''''''''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9.1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15" name="Rectangle 14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4351338" y="4019551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6CAD162-FE53-4624-BD11-9A30FF55342A}" type="datetime'''''''''''''2''''''0''''''''''''''''''''.''''''''''''''''1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1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4383088" y="288607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F7D0CE8-B36D-4E8A-B491-4EB96BBA18FF}" type="datetime'''''4''''''.''''''''''''''''''''4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4.4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1296988" y="2860675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B6038C3-4172-4D87-B83E-4173E2DDF130}" type="datetime'2''1''''''.''''''''''''''''''''''3''''''''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1.3</a:t>
            </a:fld>
            <a:endParaRPr lang="en-US" sz="10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3648075" y="268128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D66038A-8A22-407D-BD5B-75C47781DFC5}" type="datetime'''''''''''2''''''''''''''''''''''3''''''.''''4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3.4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4568825" y="3979864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74946AD-CA4C-454E-83DD-559E64C9E745}" type="datetime'''''''''''''2''''''0''''''''''''''''.''''''''''9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9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62" name="Rectangle 61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7608888" y="4106864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879F3CB-9354-4EF1-8B3F-CD3CC27C955E}" type="datetime'1''''''''''''''''''''''''''''''8''''''''''''''''.2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8.2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40" name="Rectangle 39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6958013" y="4087814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89F2510-BD77-4D56-A4E5-2C445CDE27E3}" type="datetime'''''''18''''''''''''''''''''''''''''''''''''.''''''6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8.6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4600575" y="284638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B60D38F-0972-4B62-A1E6-F3CB5CE190AF}" type="datetime'''''3''''''''''.''''''''''''''''''''''''''''''6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3.6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5186363" y="2705101"/>
            <a:ext cx="314325" cy="301625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FEC3E45-85C8-43CC-A849-82B0557E4C96}" type="datetime'''''''''''4''''''''''''''.7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4.7</a:t>
            </a:fld>
            <a:r>
              <a:rPr lang="en-US" altLang="en-US" sz="900" dirty="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dirty="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dirty="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4880CA61-4717-4846-A8B3-B5CA28A49A05}" type="datetime'''''''1''''''''''''''''8%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18%</a:t>
            </a:fld>
            <a:r>
              <a:rPr lang="en-US" altLang="en-US" sz="900" dirty="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55" name="Rectangle 54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5654675" y="4044951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742B34B-91A2-4ADF-869F-D7A1E575136A}" type="datetime'''''''''''''''''''''''1''''''''9''.''''''''''''''5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9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4949825" y="24590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D6DB7E6-56BE-4843-9599-18A3CCECBA7C}" type="datetime'''''''''''''''''2''''''''''''''5''''.''''''''''''''''''8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5.8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5686425" y="279082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D30AA85-6A4B-49F1-A566-65EAB58F59C8}" type="datetime'''''''''''''''''''''7''''''''''''''.''''''6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7.6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5872163" y="4044951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BBE47EC-3A45-4C86-AD04-856A499F4C6C}" type="datetime'''''''''''''''''''''1''9''''''''''.''''''''''5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9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5903913" y="279082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46E502E-16A6-43F9-94B6-3F7368056D5D}" type="datetime'''''7.''''''''''''''''''''''''''''''''''''6''''''''''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7.6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2995613" y="27638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7F9A728-2888-4CD8-B6BE-704339115D78}" type="datetime'''''''''''''''''''2''''''''''''''''''2.''''''''''5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2.5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6337300" y="275272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76E2378-C278-4BE4-BCCB-F3617B326552}" type="datetime'''''''''9''''.''''''''''''''''''''''''''''1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9.1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6523038" y="4062414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85C3CEF-D586-4872-A9A4-39743A77CAD6}" type="datetime'19''.''''''2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9.2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gray">
          <a:xfrm>
            <a:off x="1985963" y="3084513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2537555-435B-4837-973C-976D3195CFD3}" type="datetime'''''''''''''''''''''''''''1''''''''''''''''''''9''.''''0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9.0</a:t>
            </a:fld>
            <a:endParaRPr lang="en-US" sz="10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gray">
          <a:xfrm>
            <a:off x="7826375" y="2719388"/>
            <a:ext cx="247650" cy="150813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4D4F3F0-AD5E-4166-B40C-E79CE3E20835}" type="datetime'1''''1''''''''''''''''''''''''''''''''.8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11.8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7173913" y="4087814"/>
            <a:ext cx="247650" cy="1365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FFD4BD8-E8DA-4AD9-8FE2-FD0F56110B50}" type="datetime'''''1''''''''''''''''8''''''''''.''''''''''6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8.6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27" name="Rectangle 26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gray">
          <a:xfrm>
            <a:off x="2397125" y="4033839"/>
            <a:ext cx="247650" cy="136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016FFF6-293E-4D5A-BEEE-8F957EA36FB3}" type="datetime'19''''''''''.''''''''8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9.8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9" name="Rectangle 98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gray">
          <a:xfrm>
            <a:off x="8443913" y="4060826"/>
            <a:ext cx="314325" cy="3016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9689FBF-3771-4634-9231-767A659036A5}" type="datetime'''''''''''''''''''''''''1''''''''''7.''''''4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17.4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7618B95A-1220-4C86-B3BF-A2EF24402021}" type="datetime'''5''''7''''''''''''''''''''''''''''''''''''''%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57%</a:t>
            </a:fld>
            <a:r>
              <a:rPr lang="en-US" sz="900" noProof="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0" name="Rectangle 99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8443913" y="2655889"/>
            <a:ext cx="314325" cy="301625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9B11F41-C741-479A-B85E-A500C5F638EA}" type="datetime'''''''''''''''''''''''''''''''''''''''1''''''3''''''.''''1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13.1</a:t>
            </a:fld>
            <a:r>
              <a:rPr lang="en-US" altLang="en-US" sz="900" dirty="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dirty="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dirty="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105E906F-7428-4053-8472-FC65875F2535}" type="datetime'''''''''''''''''''''''''''''''4''''''3''''''%''''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43%</a:t>
            </a:fld>
            <a:r>
              <a:rPr lang="en-US" sz="900" dirty="0" smtClean="0">
                <a:latin typeface="+mj-lt"/>
                <a:ea typeface="+mj-ea"/>
                <a:cs typeface="+mj-cs"/>
                <a:sym typeface="+mj-lt"/>
              </a:rPr>
              <a:t>)</a:t>
            </a: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auto">
          <a:xfrm>
            <a:off x="1036638" y="3995738"/>
            <a:ext cx="184150" cy="17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15F4C25D-7559-4C7D-89A6-6ECAE90E334A}" type="datetime'''''''I''C''''''''''''''''''''''''''''''E'''''''''''''''''''">
              <a:rPr lang="en-US" altLang="en-US" sz="1050" b="1" smtClean="0">
                <a:sym typeface="+mn-lt"/>
              </a:rPr>
              <a:pPr algn="r">
                <a:spcAft>
                  <a:spcPct val="0"/>
                </a:spcAft>
              </a:pPr>
              <a:t>ICE</a:t>
            </a:fld>
            <a:endParaRPr lang="en-US" sz="1050" b="1" dirty="0" smtClean="0">
              <a:sym typeface="+mn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auto">
          <a:xfrm>
            <a:off x="973138" y="3016250"/>
            <a:ext cx="247650" cy="17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E7373453-A6ED-4E7A-B92C-07A6706BCD25}" type="datetime'''''''''''''''''''''''''''''N''''''''''''E''''''''''V'''''">
              <a:rPr lang="en-US" altLang="en-US" sz="1050" b="1" smtClean="0">
                <a:sym typeface="+mn-lt"/>
              </a:rPr>
              <a:pPr algn="r">
                <a:spcAft>
                  <a:spcPct val="0"/>
                </a:spcAft>
              </a:pPr>
              <a:t>NEV</a:t>
            </a:fld>
            <a:endParaRPr lang="en-US" sz="1050" b="1" dirty="0" smtClean="0">
              <a:sym typeface="+mn-lt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2351088" y="2809875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73171D1-636B-4E39-889B-B0F27BE45312}" type="datetime'2''''''''''''''''2''''''''.''''''''''''''''''0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2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gray">
          <a:xfrm>
            <a:off x="4298950" y="257968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77A0F29-7C8C-451A-B74A-08EDFF3EC16A}" type="datetime'2''''''''''''4''''''''''''''''''.''5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4.5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4586288" y="257968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C687CF4-9AF9-4A3E-AF73-81A5DC2A8315}" type="datetime'2''4''''''''''''''''.''''''''''''''5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4.5</a:t>
            </a:fld>
            <a:endParaRPr lang="en-US" sz="10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gray">
          <a:xfrm>
            <a:off x="5237163" y="2459038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0AB55C8-EF57-4C24-B261-AD86153C4CDB}" type="datetime'''''2''5''.''''''''''''''''''''''8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5.8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96" name="Rectangle 95"/>
          <p:cNvSpPr>
            <a:spLocks noGrp="1" noChangeArrowheads="1"/>
          </p:cNvSpPr>
          <p:nvPr>
            <p:custDataLst>
              <p:tags r:id="rId66"/>
            </p:custDataLst>
          </p:nvPr>
        </p:nvSpPr>
        <p:spPr bwMode="gray">
          <a:xfrm>
            <a:off x="8226425" y="4060826"/>
            <a:ext cx="314325" cy="3016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CD88D9F-F356-4B24-94F5-544D84F41061}" type="datetime'''1''''''''''''7.''''''''''4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17.4</a:t>
            </a:fld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t>(</a:t>
            </a:r>
            <a:fld id="{5937959A-5E16-4AB3-A7A1-7C8C11A8B58C}" type="datetime'''''''''''''''''''''5''''''''''''''''''7''%'''">
              <a:rPr lang="en-US" altLang="en-US" sz="900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57%</a:t>
            </a:fld>
            <a:r>
              <a:rPr lang="en-US" sz="900" noProof="0" smtClean="0"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67"/>
            </p:custDataLst>
          </p:nvPr>
        </p:nvSpPr>
        <p:spPr bwMode="gray">
          <a:xfrm>
            <a:off x="6253163" y="2228850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2B67DD0-E7D2-4CD4-9B94-47C9F7499F0F}" type="datetime'2''''''''8''''''.''''3''''''''''''''''''''''''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8.3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6" name="Rectangle 75"/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gray">
          <a:xfrm>
            <a:off x="6540500" y="2228850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D73AD9A-AF52-4844-A47F-7C1176BECDAA}" type="datetime'''''''''''''2''''''''8''''''''''''.3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8.3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7" name="Rectangle 76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gray">
          <a:xfrm>
            <a:off x="6904038" y="2146300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4F954E6-56E8-4E02-8CF2-5C9AC68E70C3}" type="datetime'''''''''''''''''2''''9''''''''''''''''''''.''''2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9.2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gray">
          <a:xfrm>
            <a:off x="7191375" y="2146300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A6C5252-2141-4439-8C90-64CF1ADA535C}" type="datetime'''''2''''''''''9''''''''.''''''''2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9.2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gray">
          <a:xfrm>
            <a:off x="7556500" y="2073275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75631CF-65CB-41F0-A5AA-DADFD24F4D11}" type="datetime'3''''''''''''''''''''''0''''''''''''.0''''''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0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0" name="Rectangle 79"/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gray">
          <a:xfrm>
            <a:off x="7843838" y="2057400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A7E021C-B2E6-4EF2-9734-B21D25289F9A}" type="datetime'''''''''''3''''''''''''0''''''''''''''''.''0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0.0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5" name="Rectangle 94"/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gray">
          <a:xfrm>
            <a:off x="8207375" y="2011364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28A8463-3F35-473F-9045-BF6AE5B5D425}" type="datetime'''''''3''''''''''''''''''''''''''''0.5''''''''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0.5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8" name="Rectangle 97"/>
          <p:cNvSpPr>
            <a:spLocks noGrp="1" noChangeArrowheads="1"/>
          </p:cNvSpPr>
          <p:nvPr>
            <p:custDataLst>
              <p:tags r:id="rId74"/>
            </p:custDataLst>
          </p:nvPr>
        </p:nvSpPr>
        <p:spPr bwMode="gray">
          <a:xfrm>
            <a:off x="8494713" y="2011364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834D968-95FE-4186-811F-22B2C153E4B0}" type="datetime'''''''3''''''''''''''''''0''''''''''.''''''''''''''5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0.5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75"/>
            </p:custDataLst>
          </p:nvPr>
        </p:nvSpPr>
        <p:spPr bwMode="gray">
          <a:xfrm>
            <a:off x="5889625" y="2339975"/>
            <a:ext cx="277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23ACB26-2C7A-4B52-8C6F-04982E3224A9}" type="datetime'''''2''''7''''''''''''''''''''''''''.1'''''''''''">
              <a:rPr lang="en-US" altLang="en-US" sz="10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7.1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graphicFrame>
        <p:nvGraphicFramePr>
          <p:cNvPr id="82" name="Table 81"/>
          <p:cNvGraphicFramePr>
            <a:graphicFrameLocks noGrp="1"/>
          </p:cNvGraphicFramePr>
          <p:nvPr>
            <p:extLst/>
          </p:nvPr>
        </p:nvGraphicFramePr>
        <p:xfrm>
          <a:off x="457201" y="5076825"/>
          <a:ext cx="8878522" cy="905730"/>
        </p:xfrm>
        <a:graphic>
          <a:graphicData uri="http://schemas.openxmlformats.org/drawingml/2006/table">
            <a:tbl>
              <a:tblPr firstRow="1" bandRow="1"/>
              <a:tblGrid>
                <a:gridCol w="4615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5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4260485645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4267549487"/>
                    </a:ext>
                  </a:extLst>
                </a:gridCol>
                <a:gridCol w="62703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</a:tblGrid>
              <a:tr h="20869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v. PR69 SP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19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0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1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2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3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4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5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6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7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8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9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30E</a:t>
                      </a:r>
                      <a:endParaRPr lang="en-US" sz="1000" b="0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0-2025 </a:t>
                      </a:r>
                      <a:r>
                        <a:rPr lang="en-US" sz="1000" b="0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∑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2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0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r>
                        <a:rPr lang="en-US" sz="10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3.</a:t>
                      </a:r>
                      <a:r>
                        <a:rPr lang="en-US" altLang="zh-CN" sz="10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5</a:t>
                      </a:r>
                      <a:endParaRPr lang="en-US" sz="10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5208915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V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0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0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0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0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4.8</a:t>
                      </a:r>
                      <a:endParaRPr lang="en-US" sz="10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C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0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0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83" name="Group 82"/>
          <p:cNvGrpSpPr/>
          <p:nvPr/>
        </p:nvGrpSpPr>
        <p:grpSpPr>
          <a:xfrm>
            <a:off x="1336398" y="2166373"/>
            <a:ext cx="1047924" cy="443269"/>
            <a:chOff x="1207715" y="2012752"/>
            <a:chExt cx="1047924" cy="443269"/>
          </a:xfrm>
        </p:grpSpPr>
        <p:sp>
          <p:nvSpPr>
            <p:cNvPr id="84" name="Rectangle 83"/>
            <p:cNvSpPr/>
            <p:nvPr/>
          </p:nvSpPr>
          <p:spPr bwMode="auto">
            <a:xfrm>
              <a:off x="1207715" y="2093913"/>
              <a:ext cx="123825" cy="813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674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3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5" name="Rectangle 84"/>
            <p:cNvSpPr/>
            <p:nvPr/>
          </p:nvSpPr>
          <p:spPr bwMode="auto">
            <a:xfrm>
              <a:off x="1207715" y="2292350"/>
              <a:ext cx="123825" cy="81384"/>
            </a:xfrm>
            <a:prstGeom prst="rect">
              <a:avLst/>
            </a:prstGeom>
            <a:solidFill>
              <a:srgbClr val="C6DFE7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674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3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6" name="Rectangle 85"/>
            <p:cNvSpPr/>
            <p:nvPr/>
          </p:nvSpPr>
          <p:spPr bwMode="auto">
            <a:xfrm>
              <a:off x="1390278" y="2292350"/>
              <a:ext cx="123825" cy="81384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674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3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1507653" y="2012752"/>
              <a:ext cx="747986" cy="2543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latin typeface="VWAG TheSans" panose="020B0502050302020203" pitchFamily="34" charset="0"/>
                  <a:cs typeface="Arial" panose="020B0604020202020204" pitchFamily="34" charset="0"/>
                </a:rPr>
                <a:t>PR 69 SP </a:t>
              </a:r>
              <a:endParaRPr lang="en-US" sz="1000" dirty="0">
                <a:latin typeface="VWAG TheSans" panose="020B0502050302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1507653" y="2201664"/>
              <a:ext cx="743768" cy="2543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VWAG TheSans" panose="020B0502050302020203" pitchFamily="34" charset="0"/>
                  <a:cs typeface="Arial" panose="020B0604020202020204" pitchFamily="34" charset="0"/>
                </a:rPr>
                <a:t>PR </a:t>
              </a:r>
              <a:r>
                <a:rPr lang="en-US" sz="1000" dirty="0" smtClean="0">
                  <a:latin typeface="VWAG TheSans" panose="020B0502050302020203" pitchFamily="34" charset="0"/>
                  <a:cs typeface="Arial" panose="020B0604020202020204" pitchFamily="34" charset="0"/>
                </a:rPr>
                <a:t>69 OP</a:t>
              </a:r>
              <a:endParaRPr lang="en-US" sz="1000" dirty="0">
                <a:latin typeface="VWAG TheSans" panose="020B0502050302020203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3" name="TextBox 92"/>
          <p:cNvSpPr txBox="1"/>
          <p:nvPr/>
        </p:nvSpPr>
        <p:spPr>
          <a:xfrm>
            <a:off x="568405" y="2220354"/>
            <a:ext cx="715384" cy="338554"/>
          </a:xfrm>
          <a:prstGeom prst="rect">
            <a:avLst/>
          </a:prstGeom>
          <a:solidFill>
            <a:schemeClr val="bg1"/>
          </a:solidFill>
        </p:spPr>
        <p:txBody>
          <a:bodyPr wrap="none" rIns="36000" rtlCol="0">
            <a:spAutoFit/>
          </a:bodyPr>
          <a:lstStyle/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  <a:latin typeface="VWAG TheSans" panose="020B0502050302020203" pitchFamily="34" charset="0"/>
                <a:cs typeface="Arial" panose="020B0604020202020204" pitchFamily="34" charset="0"/>
              </a:rPr>
              <a:t>Mio. units</a:t>
            </a:r>
            <a:r>
              <a:rPr lang="en-US" sz="1000" dirty="0">
                <a:solidFill>
                  <a:srgbClr val="000000"/>
                </a:solidFill>
                <a:latin typeface="VWAG TheSans" panose="020B0502050302020203" pitchFamily="34" charset="0"/>
                <a:cs typeface="Arial" panose="020B0604020202020204" pitchFamily="34" charset="0"/>
              </a:rPr>
              <a:t> </a:t>
            </a:r>
          </a:p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en-US" sz="1000" dirty="0" smtClean="0">
                <a:solidFill>
                  <a:srgbClr val="000000"/>
                </a:solidFill>
                <a:latin typeface="VWAG TheSans" panose="020B0502050302020203" pitchFamily="34" charset="0"/>
                <a:cs typeface="Arial" panose="020B0604020202020204" pitchFamily="34" charset="0"/>
              </a:rPr>
              <a:t>(% share)</a:t>
            </a:r>
          </a:p>
        </p:txBody>
      </p:sp>
      <p:sp>
        <p:nvSpPr>
          <p:cNvPr id="91" name="Up Arrow 90"/>
          <p:cNvSpPr/>
          <p:nvPr/>
        </p:nvSpPr>
        <p:spPr bwMode="auto">
          <a:xfrm flipV="1">
            <a:off x="1009319" y="5622172"/>
            <a:ext cx="129331" cy="125454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77" name="Up Arrow 176"/>
          <p:cNvSpPr/>
          <p:nvPr/>
        </p:nvSpPr>
        <p:spPr bwMode="auto">
          <a:xfrm flipV="1">
            <a:off x="1009319" y="5429790"/>
            <a:ext cx="129331" cy="125454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38938" y="6207125"/>
            <a:ext cx="8702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latin typeface="VWAG TheSans" panose="020B0502050302020203" pitchFamily="34" charset="0"/>
                <a:cs typeface="Arial" panose="020B0604020202020204" pitchFamily="34" charset="0"/>
              </a:rPr>
              <a:t>Source: </a:t>
            </a:r>
            <a:r>
              <a:rPr lang="fr-FR" sz="1000" dirty="0" smtClean="0">
                <a:latin typeface="VWAG TheSans" panose="020B0502050302020203" pitchFamily="34" charset="0"/>
                <a:cs typeface="Arial" panose="020B0604020202020204" pitchFamily="34" charset="0"/>
              </a:rPr>
              <a:t>PR69 OP and PR69 SP</a:t>
            </a:r>
            <a:endParaRPr lang="fr-FR" sz="1000" dirty="0">
              <a:latin typeface="VWAG TheSans" panose="020B0502050302020203" pitchFamily="34" charset="0"/>
              <a:cs typeface="Arial" panose="020B0604020202020204" pitchFamily="34" charset="0"/>
            </a:endParaRPr>
          </a:p>
        </p:txBody>
      </p:sp>
      <p:sp>
        <p:nvSpPr>
          <p:cNvPr id="118" name="Down Arrow 117"/>
          <p:cNvSpPr/>
          <p:nvPr/>
        </p:nvSpPr>
        <p:spPr bwMode="auto">
          <a:xfrm flipV="1">
            <a:off x="1009319" y="5818146"/>
            <a:ext cx="128588" cy="125454"/>
          </a:xfrm>
          <a:prstGeom prst="downArrow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2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94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7391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801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lang="en-US" sz="2000" b="1" dirty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012175" y="1759814"/>
            <a:ext cx="5882779" cy="4086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Total Marke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411132" y="1759814"/>
            <a:ext cx="422030" cy="4086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1</a:t>
            </a: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411132" y="2350542"/>
            <a:ext cx="422030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2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411132" y="2942380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  <a:br>
              <a:rPr lang="en-US" dirty="0"/>
            </a:br>
            <a:endParaRPr lang="en-US" dirty="0"/>
          </a:p>
        </p:txBody>
      </p:sp>
      <p:sp>
        <p:nvSpPr>
          <p:cNvPr id="2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31" name="Rectangle 4"/>
          <p:cNvSpPr>
            <a:spLocks noChangeArrowheads="1"/>
          </p:cNvSpPr>
          <p:nvPr/>
        </p:nvSpPr>
        <p:spPr bwMode="auto">
          <a:xfrm>
            <a:off x="411132" y="3534218"/>
            <a:ext cx="422030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algn="ctr">
              <a:buFont typeface="Webdings" pitchFamily="18" charset="2"/>
              <a:buNone/>
            </a:pP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4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1012175" y="2350542"/>
            <a:ext cx="5882779" cy="409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PR69.OP Volume Plan – FAW-VW</a:t>
            </a: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auto">
          <a:xfrm>
            <a:off x="1012175" y="2942380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</a:t>
            </a:r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–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FAW-VW VW + Jetta</a:t>
            </a: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1012175" y="3534218"/>
            <a:ext cx="5882779" cy="4096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lIns="36000" tIns="36000" rIns="36000" bIns="36000" anchor="ctr"/>
          <a:lstStyle/>
          <a:p>
            <a:pPr marL="109538"/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PR69.OP </a:t>
            </a:r>
            <a:r>
              <a:rPr lang="en-US" altLang="zh-CN" sz="1800" b="1" dirty="0">
                <a:solidFill>
                  <a:srgbClr val="FFFFFF"/>
                </a:solidFill>
                <a:latin typeface="VWAG TheSans"/>
                <a:sym typeface="VWAG TheSans"/>
              </a:rPr>
              <a:t>Volume Plan – FAW-VW </a:t>
            </a:r>
            <a:r>
              <a:rPr lang="en-US" altLang="zh-CN" sz="1800" b="1" dirty="0" smtClean="0">
                <a:solidFill>
                  <a:srgbClr val="FFFFFF"/>
                </a:solidFill>
                <a:latin typeface="VWAG TheSans"/>
                <a:sym typeface="VWAG TheSans"/>
              </a:rPr>
              <a:t>Audi CKD</a:t>
            </a:r>
            <a:endParaRPr lang="en-US" altLang="zh-CN" sz="1800" b="1" dirty="0">
              <a:solidFill>
                <a:srgbClr val="FFFFFF"/>
              </a:solidFill>
              <a:latin typeface="VWAG TheSans"/>
              <a:sym typeface="VWAG TheSans"/>
            </a:endParaRPr>
          </a:p>
        </p:txBody>
      </p:sp>
    </p:spTree>
    <p:extLst>
      <p:ext uri="{BB962C8B-B14F-4D97-AF65-F5344CB8AC3E}">
        <p14:creationId xmlns:p14="http://schemas.microsoft.com/office/powerpoint/2010/main" val="2008517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8084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2000" b="1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VWAG TheSans" panose="020B0502050302020203" pitchFamily="34" charset="0"/>
              </a:rPr>
              <a:t>FAW-VW Cycle Plan</a:t>
            </a:r>
            <a:endParaRPr lang="en-US" dirty="0">
              <a:sym typeface="VWAG TheSans" panose="020B0502050302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92113" y="6409024"/>
            <a:ext cx="4870867" cy="1244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Remark: Green font refers to NEV product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7569020"/>
              </p:ext>
            </p:extLst>
          </p:nvPr>
        </p:nvGraphicFramePr>
        <p:xfrm>
          <a:off x="392113" y="2085975"/>
          <a:ext cx="9111845" cy="165776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822369">
                  <a:extLst>
                    <a:ext uri="{9D8B030D-6E8A-4147-A177-3AD203B41FA5}">
                      <a16:colId xmlns:a16="http://schemas.microsoft.com/office/drawing/2014/main" val="806253177"/>
                    </a:ext>
                  </a:extLst>
                </a:gridCol>
                <a:gridCol w="18223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2369">
                  <a:extLst>
                    <a:ext uri="{9D8B030D-6E8A-4147-A177-3AD203B41FA5}">
                      <a16:colId xmlns:a16="http://schemas.microsoft.com/office/drawing/2014/main" val="3404441349"/>
                    </a:ext>
                  </a:extLst>
                </a:gridCol>
                <a:gridCol w="18223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2369">
                  <a:extLst>
                    <a:ext uri="{9D8B030D-6E8A-4147-A177-3AD203B41FA5}">
                      <a16:colId xmlns:a16="http://schemas.microsoft.com/office/drawing/2014/main" val="365394444"/>
                    </a:ext>
                  </a:extLst>
                </a:gridCol>
              </a:tblGrid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/>
                      <a:r>
                        <a:rPr lang="en-US" sz="1200" b="1" i="0" u="none" strike="noStrike" dirty="0" smtClean="0">
                          <a:solidFill>
                            <a:schemeClr val="lt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VW</a:t>
                      </a:r>
                      <a:r>
                        <a:rPr lang="en-US" sz="1200" b="1" i="0" u="none" strike="noStrike" baseline="0" dirty="0" smtClean="0">
                          <a:solidFill>
                            <a:schemeClr val="lt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Brand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odel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69.SP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69.OP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Remarks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6688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 Delay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endParaRPr lang="en-US" sz="1000" b="0" i="0" u="none" strike="noStrike" dirty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1478423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endParaRPr lang="en-US" sz="1000" b="0" i="0" u="none" strike="noStrike" dirty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6433533"/>
                  </a:ext>
                </a:extLst>
              </a:tr>
              <a:tr h="276688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61651012"/>
                  </a:ext>
                </a:extLst>
              </a:tr>
              <a:tr h="276688">
                <a:tc rowSpan="2"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 Pull Ahead</a:t>
                      </a:r>
                      <a:endParaRPr kumimoji="0" lang="en-US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89472998"/>
                  </a:ext>
                </a:extLst>
              </a:tr>
              <a:tr h="276688">
                <a:tc vMerge="1"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1229452"/>
                  </a:ext>
                </a:extLst>
              </a:tr>
            </a:tbl>
          </a:graphicData>
        </a:graphic>
      </p:graphicFrame>
      <p:sp>
        <p:nvSpPr>
          <p:cNvPr id="10" name="Up Arrow 9"/>
          <p:cNvSpPr/>
          <p:nvPr/>
        </p:nvSpPr>
        <p:spPr bwMode="auto">
          <a:xfrm flipV="1">
            <a:off x="1820848" y="2697507"/>
            <a:ext cx="173604" cy="171013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13" name="Up Arrow 12"/>
          <p:cNvSpPr/>
          <p:nvPr/>
        </p:nvSpPr>
        <p:spPr bwMode="auto">
          <a:xfrm flipV="1">
            <a:off x="1820848" y="3365415"/>
            <a:ext cx="173604" cy="171013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95115" y="3946530"/>
            <a:ext cx="103906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dirty="0" smtClean="0">
                <a:solidFill>
                  <a:srgbClr val="000000"/>
                </a:solidFill>
                <a:latin typeface="VWAG TheSans"/>
              </a:rPr>
              <a:t>Com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982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256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9895" name="think-cell Slide" r:id="rId73" imgW="470" imgH="469" progId="TCLayout.ActiveDocument.1">
                  <p:embed/>
                </p:oleObj>
              </mc:Choice>
              <mc:Fallback>
                <p:oleObj name="think-cell Slide" r:id="rId73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ct val="110000"/>
              </a:lnSpc>
              <a:spcBef>
                <a:spcPct val="0"/>
              </a:spcBef>
              <a:defRPr/>
            </a:pPr>
            <a:endParaRPr kumimoji="0" lang="en-US" sz="800" b="1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W-VW PR69.OP </a:t>
            </a:r>
            <a:r>
              <a:rPr lang="en-US" dirty="0"/>
              <a:t>Volume Planning 2020-20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graphicFrame>
        <p:nvGraphicFramePr>
          <p:cNvPr id="99" name="Chart 98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16380282"/>
              </p:ext>
            </p:extLst>
          </p:nvPr>
        </p:nvGraphicFramePr>
        <p:xfrm>
          <a:off x="1147763" y="2787650"/>
          <a:ext cx="8431212" cy="3003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18" name="Rectangle 17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1436688" y="5016500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8700BAE-5A33-4B80-A5E5-CB90F74EC7F8}" type="datetime'''''''''''''''2,''0''0''''''0''''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0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387475" y="289718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7DC470F-1B6E-457A-AC28-6EA1459F66D8}" type="datetime'''''''''''''''''''''1''''''0''.''''''''''''0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7704138" y="4319588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4F6539D-5870-413B-8019-E7D91D9B8285}" type="datetime'''''1''2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2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2146300" y="574198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452547-61A6-4E46-91CA-A63371423982}" type="datetime'2''''''0''''''''2''''''''''''''''''''0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0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6208713" y="2870200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C2CEADC-C414-480B-9958-4D0CB1E59A1E}" type="datetime'''''''''''''''''''''''''''''''1''0''''''''''''''.''''''''1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1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13" name="Rectangle 12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1504950" y="4383088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5D0D1A1B-FF21-4252-9652-84B032DBD933}" type="datetime'''''''''''''''''''''1''''0''''''''''''''''''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15" name="Rectangle 14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193925" y="4313238"/>
            <a:ext cx="139700" cy="133350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E610F707-01B3-408E-BCE9-DD8A2D335FB5}" type="datetime'1''''''''''2''''''''''''''''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2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8978900" y="410527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289EDC9-5DDE-4213-B705-0C098CC7A674}" type="datetime'''''''''''2'''''''''''''',''1''''''''''1''2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112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457325" y="574198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20ADE8-9339-4367-A7B5-05721C20C669}" type="datetime'''''2''''''''''''''''''0''''''''''''''''''''1''''''''''9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9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19" name="Rectangle 18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2125663" y="4979988"/>
            <a:ext cx="2778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6078B69-B770-4CB3-81E5-4BC6F9D11CA7}" type="datetime'2'''''''''''''''''''''''''',1''''''''''''''0''''''0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,1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2882900" y="4383088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7F50F21-7DC6-43A7-A9CE-8C8C557E3EE9}" type="datetime'''''''''''''''''''''''''''1''''''''''''''0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83" name="Rectangle 82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2076449" y="2854325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0F742F16-0830-4295-8AEB-59FD63B16887}" type="datetime'''''1''''0''''''''''''.''''''''''''''''1''%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0.1%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5568950" y="5010150"/>
            <a:ext cx="2778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C1E873C-2436-4ED2-9C22-27F6C091E5EA}" type="datetime'''''''''''''2'''''''''''''''''''''',0''0''0'''''">
              <a:rPr lang="en-US" altLang="en-US" sz="8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,0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j-lt"/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2765425" y="289718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DC84987-532F-45C8-BB93-660ABC8D4F24}" type="datetime'1''''''''''''''''''0''''''''''''''''''''''''''''''''.''0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8393113" y="4383088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BF6C6C8-BC92-4EA4-9522-3338BB6E84D4}" type="datetime'''''''''''''''''''''1''''''''''''0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2814638" y="5016500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8E356D6-E80E-4C6D-B78D-9BFBB9F04B94}" type="datetime'''''''2'''',''''''0''''''''''''0''''''0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0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6223000" y="410527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E7AA14C-660A-4BCC-8D98-93DEC0ECCA05}" type="datetime'''''''''''''''2'''''',''''''1''''''''''''12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112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4902200" y="574198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F3CCD4-3BA8-4FB5-BE23-76A7F9A3F63E}" type="datetime'''''''''''''2''''''''''''0''''2''4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3454400" y="2870200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92853E8-0C38-4051-9FFC-2C79F805D5D2}" type="datetime'''''''''''1''''''0''''''''''.''''''1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1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2835275" y="574198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4C227A6-A41C-4528-88E8-D7DDAA106CC7}" type="datetime'''''''''''''''''''''2''''''''''''''''0''''''''2''''''''''1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1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3571875" y="4319588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AADFC22-C234-4BB1-8782-4174FC8F6C93}" type="datetime'''''''''1''''''''''2''''''''''''''''''''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2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4949825" y="4319588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F68F6EE-32A9-46F4-BEE5-A441240F24D7}" type="datetime'''''''''''''12''''''''''''''''''''''''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2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3503613" y="4986338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31C2C35-5863-4501-A10B-D40699304A05}" type="datetime'''''''''''''''''''''''''''''''''2'''',''''''''1''''00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1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3524250" y="574198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07023C5-829F-4805-B923-5672153B9755}" type="datetime'''''''''''''''2''''''''''''0''''''''''''''''''''''''2''2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2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4143375" y="289718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D29DCB7-DB53-4552-8B5B-6D70037F7477}" type="datetime'''1''''''''0''''''''''''.''0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5589588" y="574198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CB955E8-DE78-4CAE-AF77-F687F501E968}" type="datetime'''''''''''''''''''''2''''''''''''''0''''''2''''5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4260850" y="4383088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3D6A960-8CAB-4714-A1CB-7AC2C31A1B66}" type="datetime'1''''''''''''''0''''''''''''''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8345488" y="574198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4D98A82-F53A-48EC-94E3-8BB20E29B620}" type="datetime'''''''2''''''0''''''''''''''''''''''''''''''2''''9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9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4192588" y="5016500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E3C04A5-D125-4A54-A7BC-C9A304531D36}" type="datetime'''''''2'''''''''''''',000''''''''''''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0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4213225" y="574198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B3049D8-BAF7-4370-ACEB-3F8F6265BD82}" type="datetime'''''''''2''''''''''0''''''''''''''''''2''''''''''3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3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6897688" y="289718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3BAD60D-61D7-4775-8718-A60EBDB36DD2}" type="datetime'1''''''''''''''0''''.''''''''0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4832350" y="2870200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BD054E5-A41B-4EF3-91DD-3057B05A38DA}" type="datetime'''10''.''''1''''''''''''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1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4881563" y="4986338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844ACCAA-F75D-4FA3-9CAD-A38A3B6A2D15}" type="datetime'''''''''''''''''''''2'',1''''''''''''00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1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5519738" y="289718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6D97A46-AE77-4DA5-9C89-14ECDA7351F3}" type="datetime'''''''''1''''''''''0''''''''''.0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5553076" y="4321175"/>
            <a:ext cx="307975" cy="2444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AD3D3E3-9967-4895-AFBF-5E41F68D4D28}" type="datetime'''''''''''''''''10''''''''''''''''''''''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</a:t>
            </a:fld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/>
            </a:r>
            <a:b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</a:br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</a:t>
            </a:r>
            <a:fld id="{ABE91639-1F06-4DDD-A56B-96A63B9BF5E3}" type="datetime'''''''0''''''''''.''5%''''''''''''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5%</a:t>
            </a:fld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)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6326188" y="4319588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C820794-B8BF-4E87-9F0F-4E109DA0B9E1}" type="datetime'''''''1''2''''''''''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2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9034463" y="574198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A0427FB-3C8A-4011-B704-14A214B04D85}" type="datetime'''''''''''2''''''''''''0''''3''''''''''''''''0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6278563" y="574198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07C662A-8396-4AB6-BA4F-83118A3BE854}" type="datetime'''''2''''''''''''''''0''''''''''''''''2''''''''''''6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6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6257925" y="4986338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24A6E9CD-5B96-401B-8372-5B472039FD77}" type="datetime'''''''''''''''''''''2'',''''''''''10''''''''''0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1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7635875" y="4986338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B205E5D-F5A2-42BA-B76A-7F9F4A1EB76E}" type="datetime'''''''''''''''2'''''''''''''''''''''',1''''''''''0''''0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1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7015163" y="4383088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C9839055-E42A-4840-956E-81EA70C36C1E}" type="datetime'''''''''''1''''''''''''''''''''''''''''''''''''0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6946900" y="5016500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09E3EDF5-6695-448F-B207-EB6F4DF0C5B1}" type="datetime'2'''',''0''''''''''''''''''''''0''''0''''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0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auto">
          <a:xfrm>
            <a:off x="6967538" y="574198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36A238-F014-4DCD-B76E-992286F4F6AB}" type="datetime'''20''''''''''''''27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7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7586663" y="2870200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7F647A5-0EBB-4F4A-A703-04E1801D07FB}" type="datetime'''''''''10''''''''''''''.''1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1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9013825" y="4986338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9ECC7487-0A79-4950-B227-21BD094E000B}" type="datetime'''2'''',''''10''''''''''''''''''''''''''''''''''0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1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8997951" y="4257675"/>
            <a:ext cx="307975" cy="2444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70FE2FA-469F-439E-8810-B9167FB9D655}" type="datetime'''''''''''''''''''''''1''''''''''''''''''''''''''''2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2</a:t>
            </a:fld>
            <a: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/>
            </a:r>
            <a:br>
              <a:rPr kumimoji="0" lang="en-US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</a:br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</a:t>
            </a:r>
            <a:fld id="{FD3F0BFA-36C1-4825-97A8-1FD60364C11E}" type="datetime'''''''''''''''''0.''''''''''''''''6''''''%'''''''''''''">
              <a:rPr lang="en-US" altLang="en-US" sz="800" b="1" smtClean="0">
                <a:solidFill>
                  <a:srgbClr val="FFFFFF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0.6%</a:t>
            </a:fld>
            <a:r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)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8275638" y="2897188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EFE9F260-7248-40D3-9DEC-CC29F290EC56}" type="datetime'''''1''''''''''''0''''''''''''''.''''''''''''''0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17" name="Rectangle 16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6911975" y="416877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BFDC925E-E8CB-44F9-B632-1E5778327A61}" type="datetime'2'',''''''0''''''''''1''''''''''''''''''0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01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8324850" y="5016500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7267ED4-915F-4840-AD55-770871F80EDD}" type="datetime'2'''''''''',''''''''0''''''''0''''''''0'''''''''''''''''''">
              <a:rPr lang="en-US" altLang="en-US" sz="8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000</a:t>
            </a:fld>
            <a:endParaRPr kumimoji="0" lang="en-US" sz="8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gray">
          <a:xfrm>
            <a:off x="2779713" y="416877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DB97A743-070A-48B1-8535-0D81FF4A0C9E}" type="datetime'''''''''2,''''''''''''''0''1''''''''''''''''''''''''0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01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gray">
          <a:xfrm>
            <a:off x="8964613" y="2870200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FE5A504-09DF-4E09-8D58-406D791E1D79}" type="datetime'''''''''''''''1''''''''''''''''''0''''''''''.''''''1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10.1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%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1401763" y="416877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9E17F2C-CE9D-4781-A67E-D397EECB8F5B}" type="datetime'''''2,''''''''0''''''''''''1''''''''0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01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auto">
          <a:xfrm>
            <a:off x="7656513" y="5741988"/>
            <a:ext cx="234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2638F85-5364-4492-AA07-E5872AA99943}" type="datetime'''''''''''2''''''0''''''''''2''''''8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8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gray">
          <a:xfrm>
            <a:off x="3468688" y="410527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75CFD6C6-0B3B-4DC8-9EEB-677761C37719}" type="datetime'''''''''2'''''',''''1''''1''''''''2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112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4846638" y="410527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FB77E576-9BB4-4B00-8AFE-A4B778C86763}" type="datetime'''''2'''''''''''''''''''''',''''''''1''''''''1''''2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112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4157663" y="416877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47D1D8FD-3231-4ABC-8812-001C5C7920FD}" type="datetime'''''''''''2'''',''''''''''0''''''''''''''1''''''''''0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01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5534025" y="416877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A585F7AB-FDE9-4674-A903-438F40E78CE1}" type="datetime'2,''''''''0''''''''''''''''''''''''''''''''''''10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01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7600950" y="410527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369F4AEF-1630-4FAF-93F2-6D0505D135FB}" type="datetime'''''''2'''',''''''''''''''1''''''''''''''''1''2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112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gray">
          <a:xfrm>
            <a:off x="8289925" y="416877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lnSpc>
                <a:spcPct val="100000"/>
              </a:lnSpc>
              <a:spcAft>
                <a:spcPct val="0"/>
              </a:spcAft>
              <a:defRPr/>
            </a:pPr>
            <a:fld id="{6FB40020-AB37-48FA-A58B-1874429815AE}" type="datetime'''2'''''''',''''''''0''''''''''''''''''1''''''''''''''''''''0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100000"/>
                </a:lnSpc>
                <a:spcAft>
                  <a:spcPct val="0"/>
                </a:spcAft>
                <a:defRPr/>
              </a:pPr>
              <a:t>2,01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2090738" y="4089400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C43E062-30AF-48EC-B247-3458EE71273F}" type="datetime'''''''2'''''',''''''1''''''''''''''''''''''''''''''1''2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,112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cxnSp>
        <p:nvCxnSpPr>
          <p:cNvPr id="69" name="Straight Connector 68"/>
          <p:cNvCxnSpPr/>
          <p:nvPr>
            <p:custDataLst>
              <p:tags r:id="rId65"/>
            </p:custDataLst>
          </p:nvPr>
        </p:nvCxnSpPr>
        <p:spPr bwMode="auto">
          <a:xfrm>
            <a:off x="506413" y="3684588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0" name="Rectangle 69"/>
          <p:cNvSpPr/>
          <p:nvPr>
            <p:custDataLst>
              <p:tags r:id="rId66"/>
            </p:custDataLst>
          </p:nvPr>
        </p:nvSpPr>
        <p:spPr bwMode="auto">
          <a:xfrm>
            <a:off x="536575" y="3805238"/>
            <a:ext cx="142875" cy="106363"/>
          </a:xfrm>
          <a:prstGeom prst="rect">
            <a:avLst/>
          </a:prstGeom>
          <a:solidFill>
            <a:srgbClr val="007770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1" name="Rectangle 70"/>
          <p:cNvSpPr/>
          <p:nvPr>
            <p:custDataLst>
              <p:tags r:id="rId67"/>
            </p:custDataLst>
          </p:nvPr>
        </p:nvSpPr>
        <p:spPr bwMode="auto">
          <a:xfrm>
            <a:off x="536575" y="3978275"/>
            <a:ext cx="142875" cy="106363"/>
          </a:xfrm>
          <a:prstGeom prst="rect">
            <a:avLst/>
          </a:prstGeom>
          <a:solidFill>
            <a:srgbClr val="C0D9E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2" name="Oval 71"/>
          <p:cNvSpPr/>
          <p:nvPr>
            <p:custDataLst>
              <p:tags r:id="rId68"/>
            </p:custDataLst>
          </p:nvPr>
        </p:nvSpPr>
        <p:spPr bwMode="auto">
          <a:xfrm>
            <a:off x="552450" y="3659188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auto">
          <a:xfrm>
            <a:off x="730250" y="3627438"/>
            <a:ext cx="2190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966FAF-D5A8-4B33-BE9B-741CCF618F5F}" type="datetime'M''''''''''''''''''''''''''''S''''''''''''''''''%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l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MS%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auto">
          <a:xfrm>
            <a:off x="730250" y="3973513"/>
            <a:ext cx="138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829D29B-151D-41B2-B8AE-4EC31DDF71F4}" type="datetime'''''''''''I''''''''''C''''''''E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l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ICE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auto">
          <a:xfrm>
            <a:off x="730250" y="3800475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C744EC7-2293-473F-97E3-06C8268B9D19}" type="datetime'''''''''''''N''''''''''''E''''''''V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l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NEV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graphicFrame>
        <p:nvGraphicFramePr>
          <p:cNvPr id="76" name="Table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7570330"/>
              </p:ext>
            </p:extLst>
          </p:nvPr>
        </p:nvGraphicFramePr>
        <p:xfrm>
          <a:off x="369931" y="5734050"/>
          <a:ext cx="9144178" cy="6858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53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74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7401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74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74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74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74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740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74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740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740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740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740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 smtClean="0">
                          <a:effectLst/>
                        </a:rPr>
                        <a:t>MS%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/>
                      </a:endParaRPr>
                    </a:p>
                  </a:txBody>
                  <a:tcPr marT="9525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19A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900" b="1" dirty="0" smtClean="0"/>
                        <a:t>NEV MKT%</a:t>
                      </a:r>
                      <a:endParaRPr lang="en-US" sz="900" b="1" dirty="0">
                        <a:latin typeface="VWAG TheSans" panose="020B0502050302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6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6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6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6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5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6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/>
                      <a:r>
                        <a:rPr lang="en-US" sz="900" b="1" baseline="0" dirty="0" smtClean="0"/>
                        <a:t>ICE MKT%</a:t>
                      </a:r>
                      <a:endParaRPr lang="en-US" sz="900" b="1" dirty="0">
                        <a:latin typeface="VWAG TheSans" panose="020B0502050302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</a:rPr>
                        <a:t>10.0%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0" name="TextBox 79"/>
          <p:cNvSpPr txBox="1"/>
          <p:nvPr/>
        </p:nvSpPr>
        <p:spPr>
          <a:xfrm>
            <a:off x="369888" y="3155950"/>
            <a:ext cx="655638" cy="368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5402580" y="2681288"/>
            <a:ext cx="4054089" cy="1074738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1828800" marR="0" lvl="4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78" name="Rectangle 77"/>
          <p:cNvSpPr/>
          <p:nvPr/>
        </p:nvSpPr>
        <p:spPr bwMode="auto">
          <a:xfrm>
            <a:off x="5401466" y="2682875"/>
            <a:ext cx="152519" cy="14922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2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408798" y="6435766"/>
            <a:ext cx="1563125" cy="10953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Remark: Year 2020 FC5+7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376958" y="1370207"/>
            <a:ext cx="9119467" cy="618614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54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Comments</a:t>
            </a:r>
            <a:endParaRPr lang="en-US" sz="900" dirty="0">
              <a:solidFill>
                <a:srgbClr val="000000"/>
              </a:solidFill>
              <a:latin typeface="VWAG TheSans" panose="020B0502050302020203" pitchFamily="34" charset="0"/>
              <a:sym typeface="VWAG TheSans" panose="020B0502050302020203" pitchFamily="34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54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Comments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540"/>
              </a:spcBef>
              <a:spcAft>
                <a:spcPct val="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lang="en-US" sz="900" dirty="0" smtClean="0">
                <a:solidFill>
                  <a:srgbClr val="000000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Comments</a:t>
            </a: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5381793" y="5961857"/>
            <a:ext cx="4114632" cy="193674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1828800" marR="0" lvl="4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86" name="Rectangle 85"/>
          <p:cNvSpPr/>
          <p:nvPr/>
        </p:nvSpPr>
        <p:spPr bwMode="auto">
          <a:xfrm>
            <a:off x="5410110" y="5975350"/>
            <a:ext cx="152519" cy="14922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2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2026921" y="2673668"/>
            <a:ext cx="1836420" cy="1074738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1828800" marR="0" lvl="4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88" name="Rectangle 87"/>
          <p:cNvSpPr/>
          <p:nvPr/>
        </p:nvSpPr>
        <p:spPr bwMode="auto">
          <a:xfrm>
            <a:off x="2025806" y="2675255"/>
            <a:ext cx="152519" cy="14922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  <a:sym typeface="VWAG TheSans" panose="020B0502050302020203" pitchFamily="34" charset="0"/>
              </a:rPr>
              <a:t>1</a:t>
            </a:r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5372099" y="3984308"/>
            <a:ext cx="670561" cy="42005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marL="1828800" marR="0" lvl="4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5363366" y="3985895"/>
            <a:ext cx="152519" cy="14922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  <a:latin typeface="VWAG TheSans" panose="020B0502050302020203" pitchFamily="34" charset="0"/>
                <a:sym typeface="VWAG TheSans" panose="020B0502050302020203" pitchFamily="34" charset="0"/>
              </a:rPr>
              <a:t>3</a:t>
            </a:r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  <a:sym typeface="VWAG TheSans" panose="020B05020503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4301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1&quot;&gt;&lt;elem m_fUsage=&quot;8.54971742368601006490E+00&quot;&gt;&lt;m_msothmcolidx val=&quot;0&quot;/&gt;&lt;m_rgb r=&quot;79&quot; g=&quot;BD&quot; b=&quot;8F&quot;/&gt;&lt;m_nBrightness endver=&quot;26206&quot; val=&quot;0&quot;/&gt;&lt;/elem&gt;&lt;elem m_fUsage=&quot;1.00929104549978188032E+00&quot;&gt;&lt;m_msothmcolidx val=&quot;0&quot;/&gt;&lt;m_rgb r=&quot;00&quot; g=&quot;80&quot; b=&quot;00&quot;/&gt;&lt;m_nBrightness endver=&quot;26206&quot; val=&quot;0&quot;/&gt;&lt;/elem&gt;&lt;elem m_fUsage=&quot;3.09097677619172672703E-01&quot;&gt;&lt;m_msothmcolidx val=&quot;0&quot;/&gt;&lt;m_rgb r=&quot;C0&quot; g=&quot;D9&quot; b=&quot;E4&quot;/&gt;&lt;m_nBrightness endver=&quot;26206&quot; val=&quot;0&quot;/&gt;&lt;/elem&gt;&lt;elem m_fUsage=&quot;5.44037274050662225666E-02&quot;&gt;&lt;m_msothmcolidx val=&quot;0&quot;/&gt;&lt;m_rgb r=&quot;C8&quot; g=&quot;2D&quot; b=&quot;20&quot;/&gt;&lt;m_nBrightness endver=&quot;26206&quot; val=&quot;0&quot;/&gt;&lt;/elem&gt;&lt;elem m_fUsage=&quot;4.14674445530930427251E-02&quot;&gt;&lt;m_msothmcolidx val=&quot;0&quot;/&gt;&lt;m_rgb r=&quot;80&quot; g=&quot;B0&quot; b=&quot;C8&quot;/&gt;&lt;m_nBrightness endver=&quot;26206&quot; val=&quot;0&quot;/&gt;&lt;/elem&gt;&lt;elem m_fUsage=&quot;1.99180464447964063190E-02&quot;&gt;&lt;m_msothmcolidx val=&quot;0&quot;/&gt;&lt;m_rgb r=&quot;A8&quot; g=&quot;AD&quot; b=&quot;B3&quot;/&gt;&lt;m_nBrightness endver=&quot;26206&quot; val=&quot;0&quot;/&gt;&lt;/elem&gt;&lt;elem m_fUsage=&quot;7.85517162576560359910E-03&quot;&gt;&lt;m_msothmcolidx val=&quot;0&quot;/&gt;&lt;m_rgb r=&quot;FD&quot; g=&quot;B5&quot; b=&quot;6C&quot;/&gt;&lt;m_nBrightness endver=&quot;26206&quot; val=&quot;0&quot;/&gt;&lt;/elem&gt;&lt;elem m_fUsage=&quot;5.72644682465405386457E-03&quot;&gt;&lt;m_msothmcolidx val=&quot;0&quot;/&gt;&lt;m_rgb r=&quot;00&quot; g=&quot;46&quot; b=&quot;66&quot;/&gt;&lt;m_nBrightness endver=&quot;26206&quot; val=&quot;0&quot;/&gt;&lt;/elem&gt;&lt;elem m_fUsage=&quot;2.48825975328809340451E-03&quot;&gt;&lt;m_msothmcolidx val=&quot;0&quot;/&gt;&lt;m_rgb r=&quot;00&quot; g=&quot;63&quot; b=&quot;84&quot;/&gt;&lt;m_nBrightness endver=&quot;26206&quot; val=&quot;0&quot;/&gt;&lt;/elem&gt;&lt;elem m_fUsage=&quot;3.47512551050078915345E-05&quot;&gt;&lt;m_msothmcolidx val=&quot;0&quot;/&gt;&lt;m_rgb r=&quot;D4&quot; g=&quot;D6&quot; b=&quot;D9&quot;/&gt;&lt;m_nBrightness endver=&quot;26206&quot; val=&quot;0&quot;/&gt;&lt;/elem&gt;&lt;elem m_fUsage=&quot;4.94838882730751146191E-09&quot;&gt;&lt;m_msothmcolidx val=&quot;0&quot;/&gt;&lt;m_rgb r=&quot;E3&quot; g=&quot;EF&quot; b=&quot;F8&quot;/&gt;&lt;m_nBrightness endver=&quot;26206&quot; val=&quot;0&quot;/&gt;&lt;/elem&gt;&lt;elem m_fUsage=&quot;3.12801560042886229650E-10&quot;&gt;&lt;m_msothmcolidx val=&quot;0&quot;/&gt;&lt;m_rgb r=&quot;00&quot; g=&quot;33&quot; b=&quot;66&quot;/&gt;&lt;m_nBrightness endver=&quot;26206&quot; val=&quot;0&quot;/&gt;&lt;/elem&gt;&lt;elem m_fUsage=&quot;2.69165677625262967139E-11&quot;&gt;&lt;m_msothmcolidx val=&quot;0&quot;/&gt;&lt;m_rgb r=&quot;0E&quot; g=&quot;60&quot; b=&quot;DA&quot;/&gt;&lt;m_nBrightness endver=&quot;26206&quot; val=&quot;0&quot;/&gt;&lt;/elem&gt;&lt;elem m_fUsage=&quot;2.42249109862736673657E-11&quot;&gt;&lt;m_msothmcolidx val=&quot;0&quot;/&gt;&lt;m_rgb r=&quot;10&quot; g=&quot;5B&quot; b=&quot;D8&quot;/&gt;&lt;m_nBrightness endver=&quot;26206&quot; val=&quot;0&quot;/&gt;&lt;/elem&gt;&lt;elem m_fUsage=&quot;1.58939640980941566884E-11&quot;&gt;&lt;m_msothmcolidx val=&quot;0&quot;/&gt;&lt;m_rgb r=&quot;E1&quot; g=&quot;FF&quot; b=&quot;E1&quot;/&gt;&lt;m_nBrightness endver=&quot;26206&quot; val=&quot;0&quot;/&gt;&lt;/elem&gt;&lt;elem m_fUsage=&quot;5.03574987226635321481E-12&quot;&gt;&lt;m_msothmcolidx val=&quot;0&quot;/&gt;&lt;m_rgb r=&quot;C6&quot; g=&quot;DF&quot; b=&quot;E7&quot;/&gt;&lt;m_nBrightness endver=&quot;26206&quot; val=&quot;0&quot;/&gt;&lt;/elem&gt;&lt;elem m_fUsage=&quot;8.96293811592221547337E-15&quot;&gt;&lt;m_msothmcolidx val=&quot;0&quot;/&gt;&lt;m_rgb r=&quot;99&quot; g=&quot;C8&quot; b=&quot;37&quot;/&gt;&lt;m_nBrightness endver=&quot;26206&quot; val=&quot;0&quot;/&gt;&lt;/elem&gt;&lt;elem m_fUsage=&quot;8.67410664661368480361E-24&quot;&gt;&lt;m_msothmcolidx val=&quot;0&quot;/&gt;&lt;m_rgb r=&quot;A3&quot; g=&quot;CA&quot; b=&quot;E7&quot;/&gt;&lt;m_nBrightness endver=&quot;26206&quot; val=&quot;0&quot;/&gt;&lt;/elem&gt;&lt;elem m_fUsage=&quot;1.60732947364291047119E-24&quot;&gt;&lt;m_msothmcolidx val=&quot;0&quot;/&gt;&lt;m_rgb r=&quot;C2&quot; g=&quot;CC&quot; b=&quot;A6&quot;/&gt;&lt;m_nBrightness endver=&quot;26206&quot; val=&quot;0&quot;/&gt;&lt;/elem&gt;&lt;elem m_fUsage=&quot;1.44659652627861946081E-24&quot;&gt;&lt;m_msothmcolidx val=&quot;0&quot;/&gt;&lt;m_rgb r=&quot;95&quot; g=&quot;A8&quot; b=&quot;44&quot;/&gt;&lt;m_nBrightness endver=&quot;26206&quot; val=&quot;0&quot;/&gt;&lt;/elem&gt;&lt;elem m_fUsage=&quot;1.17174318628568183856E-24&quot;&gt;&lt;m_msothmcolidx val=&quot;0&quot;/&gt;&lt;m_rgb r=&quot;5F&quot; g=&quot;19&quot; b=&quot;39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ds0UXrRouKKAJ66LbzQ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a.cjT4T_eDzqYQDg9AY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wotIU1QAOOhrq_Zkd0U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cm4yfiRCiN9p6xuyrDk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4_F36PRIeUnnzXwUHzg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cmtHtaRN.qHK3gFq_Zy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x2_N4WQD2NcwDp63sE7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LwdkYiRPKNSYhqXoUyB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blrzbKTeCp3cGiG.H6Q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1T18zbRdOI0w87s2AyA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7e6B3R5eJayytaLrI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BDM0CmQm..pXlL3TnEY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tol_2fQ5CVXYJvKjZJA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pyfaWRQ1GAn4AGpPkc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E7LKDsTMG7Uc8FBk9bc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u81YkERMCvh7CJ_5fmj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8zJVNnRBiqb5iW5kbpv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6gIGN1QBGJ9t21elIrC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fI4_kkSlekJK3HmB4Kn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6eg0iMRZaN2YIxHIK2o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mmBYlnSFSb3k1ywpDm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EP5GVuQCuRwTT_u3_Lj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o0CrdZRsChfwE_A1exK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QCJLMsRXuS0j6lWJLvf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ROUV0fQlCvGu.a9iyc.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vFpTCQRh.6emc9zav3h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GDRIvSvaSn5.TVHOIB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KmfgBkTwmszVHuij9bp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nRJ2pfTGG1DaQojvgHf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si8mmWQyOQKoNYV31gV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bkyhL7To.htqL6JdLaI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QFY8J5RXKnTik9fYfa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xe2hMdTiy6h5Z1f0xPL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BJIQ4kSMyUYIU_Ko8F0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TWsHgR7WLqUcvWZ8zA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f6OXGoTYyk1cKlvceLf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F2xM5vQq.Fqz.I1TqAc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vqxM_dTAORtc1wkJXWs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GLe2yaThW6F1acomzRK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pTsanXQc61eLeL_O.KS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2wUqoOR9ekG1BGWaFm.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V1bto6Te68iqaFXpQ29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EP5GVuQCuRwTT_u3_Lj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0QyIHcT0elJ8Ygc8V9V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TWS7dgTaeBq5IpNZl_p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Otfqv8QaSGasFEQsvKe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WkugEFS_.Nt9UV9v64w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WBtJjpQtWA_D6FSv2Dv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OPBl2OTJy.Bm0yQ.eDV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4zMaH7TFKyAXYVf_xR8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kzsZIfRP28LfbIHJLFj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AoYHqESAutQ_4fcpQgP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nHQU.SS.6i07Zt81Sg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2YIu6VS..vt3BwfdvBO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hgHRjJSEK0E0o_S9Koi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IG6McSREmF4krGIXpB8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VaCsmXSESxcqOsSXe_u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LnOEy2RCGyQowj.QFz8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3g72nSTyFKIir_5sug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mzrBBqQEG3TeXWRvzuE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5sQUIRSrysE.jqdogYA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0mzCJ3R2.W2ShggrPc1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blZ87MTgm3ysWr36gB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m_QNz9QR6ymDWxtyDuS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Fq1ih2RLuzOrl3pQEEz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r4Ifc_Qk.UUXlZaXtMd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BMxmHWSi.L9.SKEjYRj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y7i2ZiTB.jLabAkIz8C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iL49nTRuGwW8v5pEYrm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OFnymuQFeCetuqkOBbj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2UkAN2QjCx4KIU6xD.X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N48XDoV.YDcYg2quEal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W6WSd.S0WLQaQqwD2B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L.O_unrvwpP9N1KC_3U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RakDD_vi7E39uLeidp8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jBIwnpl_BRKfGFWj268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tngH61Wp5kEEHY2Qai8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QL2z4R63D.o46TDTamR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DUGQs0hN5L5qtwDNR8C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OZu5zZomU_VoxbJDBjU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PWQCpbGsjya.G6bPYn7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af0zeuUKx_PlXvCHKZq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onooHe9FfxhqHBZz0L0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rMMKS6Jis7G1wHx_7WP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jOBkcQ3_wBfPrBldT5f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SXg4y_1cmxH1BnaAOTX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QLVW9jVLQmH4QxyvCq2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tda_cIcd.yUdPlqpRdx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IUKv9E9nPQb.6IIYhdv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yI9HGJYcMvOk1Z_hyn_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NjfTIpPX65ydzfCXbxM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agG6ZSKIPeGwK1O2yF0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hyEbtsQj3hmkPl9Bs_W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_GmIAcSeYlnV.hVjNb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1C0Qs9akP45_iP1rcP3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egIGThUd4ByGXYeUf9N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3Lommw252ahjxUbofu0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6TEE1TsTC4TRrjEmzZo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GARpgGzpqS88KVFqjY5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Fb7jJlBZSlBqdFivdB6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0TqKmUPn_IaDMd0rPT2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W4CNR6aal_Djx_GLinM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IWqvu6Ca_.cuUW3n.k1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7At0PRDXKhN5pBS62p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LGSYeTT.evca1g8DSMt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R80zVGZzNgkPrHQFQZv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M4jMu.hu0m26D1CVBNr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h6YmdTzuRvukcAE1edc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.dmsblTAvL_BovREHMg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T6ab_TP5S_P_5mPzgAn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rjmLsjg_3gCQUn0urxu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iz_94AfFGTbDHeTGSDT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GLyqzfIlYPajsqlCVt8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NZqKUmboZL79FeFIQdR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qw.UhI5iqfWkqVZ1Bm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A.xWCnicsXxbRmJ69O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AOKTxs3alnIz4fGt3CI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583E95A90I0onA4fdrs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Ilgmk6kAN64NojuiO6b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WUaB8vIMmZt_Ix.KzA.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WKalcXJKqYEsf3gaheS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GtbieP2d6E5KfqDAryg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.fyb4BQUuo94YlyAqAQ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ittMr4Srk0z5A_Wjbuf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qKrjo3TwX32QBGz7CPh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ligxhCdT7pUH5yJH2N9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6rCIydTQGBcvY3ZLZWN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Ogdgcf3VzrKZci4ltwt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r6Y5GpZJ7911D1a0Q6y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T7zRc074.ZQPIBzNZ8k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IB7NbKi528V5jSXSpPS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EgC6C2cXqVJW5PBRJX8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SGevqM6HNH1DQI8i0E0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keq2RdiDOmSzo8TY1.l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OmTkhKVedbFb8PlHo_v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wldGz0jgqYWCih.tN6p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zyxNa__QOH9WF0Wj0h7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UOInYXQjqT4Lg_C5RdZ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lL1KugAo5mYTM2XGMXk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YJqx87j2j.KqFhg7i.R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Vf4TMJJ5oZ2UAVKhWRK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pqHFUpBrAsA4.5_1xs9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8oOcFL8YAyLz6B18ION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EKAooXg.l2hEagMmzU3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Sgpm2DYK4BPIa0EkbX0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2oT31jbZ9pMluRSytI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4M2682FhPlrT_58YmYR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Iht7evsT2HysiosFmQ5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TzvHKaSreWB5rdXCOJJ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TXX7..NQn0xEA6IWQJ_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d9rMGsdLJK3tB1YTBDw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G.B6pOQ4mzcNxGUaPLj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YLxoBOD3vr7BYlccjKp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d0ScrIWBFIjxx6oTTN8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VOh82jOfXm7STQKT.Gw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ky33_wzPE5WFMG41wgf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W.sA9.lt3oBPFKFUyhb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0FZkenQ_Q7LSvHMdOIK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PUUylKRpi6_67xR_cG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SAJA5xSWORjxjDScYwm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GAR8UWTvf5dfch_Zmyf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fjMFplxZ_iY.ymyBWbe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kRip0.DhpZwK8gWWa0v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Bxo3MzvYrDnABqXjiHU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0i4d1QZl5N8oZfQAagy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JUTGlO6h2OgemQ5Nt78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xbg4g19cwmmDWji5KsJ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Yl1l33JaHX5eqowHCYd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C5akIaiNW0zMn5Y6ZhH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wxeLi3SjOZ0ol0S1ar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qduvA8SF.wvD7_zzLsP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AhdlP3HZClmfY10ljNI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P7FQkgDYs.xPnmCCtZn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DXhXDm3YZ5Jr0q__W0I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0JSFnbPUgPPI6rqEmnO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Xw4_wUve5UmSTxvat78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CCq_ANXyDaysPUk9Klw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q0l1rZvaZ3Jxn7Ui7iN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8ItgZ2sASGKQF2IFhe8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Wk8AGdCoDJEwZPu63YG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TtNYn_wOheEaOi6Hpk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fvCoAxQ9ir82xnuqIBF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8l2fs_k7qwPD8tGbJbv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CJ4IhOm60ThhZjXCBTq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ilQZO2wunSkwRJ6IySL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hiGhFItbzReY8eLjab8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X.JElnihNWg.8qGlu2E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9zIkBXzjUFkRo.rZ_Jf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SsjHIHM7bTpzhixmwzO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sQGFm0D69xiv7.WIQCC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Hgtv6N4k4gwbHYugGgm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sfjnHJIA4Aux_95EpZa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V6cYwuQDKIkm7AxEZUJ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wN.DAG8iOU9VCGpTSYE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CiCnApIBn5VfmXZ6rj3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jB4_FYWoPC6VZE2Njne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QwRQAwoBotm6lE5D.aE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BkADy2nPL_SysavZQ4U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uHpXiY6b_Qy5gFMHan_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OprO5_eAUfKGwuo5vcU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2zZRL64KRHPA9Mw9o9u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0lFjDUsUuY4p7xpmG7j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jMLfggSKFnmA8XFs_6_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yR3yYqQUaHQ4HsrGH0i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jwQaw.LS6vGmrxD2h1z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N8D5J15R_TsUfkDz6NN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1B4Q6EEIKC.Vm8yvsd2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I2MmgNlGrwXpKY9.5aE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XSJzHU8cr2LsUJdMd32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5qge7SxZwvq1T6QLPlZ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wV1GJN0Jh06YwC.LEt1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DdGe4Iu2fw1ZmjBCHoo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2CwYX3uA2kr6N5IHMS0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lh0Wh5Mkxr3ucf1lnK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lh1JWISbKSHIrZxJwpz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TuBFZjRAugrXne8RJai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463z5cN4ybb7AzHaqj1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nIZo9yJECp4FWsv4yP9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ZNOf1DKPd6hfBWphfgI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FiRE0QEwb23stEZsSRq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14u8SDhRCimg7FIcpt9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1UF7eu75Q55nk3ybRP_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jRloOiui5aT8Kza65Lo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tfyihEHmzbVzSdRC6v_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uVDexlSQOlCJXMXGbp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POokFRS_WZrV34QNgUC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UvlvS5byU5R0LwXkRYi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Ui8l6BQLm6M72XWaiPP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PnOWeFQPmKhUu3TPbeX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QwPQfERMav.TJXMWOUV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yVrAqATO6_czSLT8Ud5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PCzgkKT92jah4m13JTl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wRZqUWRUG6.XvKiTYbl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ZAancaQDSvnALBd0KTA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Vukmo4S0.aw5rpBqSI.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ZmBsFmSa.jHve7MVw_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vS8UoxRi2X_ioalpcs.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TAT8EySLiLOmU5cZ56x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eqoznRHeVj.NLAVwoN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tIEJahQp.x3iq.mBBI2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h5GAw4ScuJOVMkoc2SA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uDaTQZReK8idIqrosKm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flfFk_RW2jXYgTnYSS_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MD5OBdQiuKAiqe1tgfR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xFEfrSPijfeJB9igBS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A2dvCqRKi1dx3XNJEuZ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SRqv_vTNmS9mX9HarQd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uEIPO.TV.c0NrhVG4IM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6mvOjCSZCatwSZMfT2.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EyqITfQiiZxI42kfR2j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R6cr12RdqyXba0jiRk4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75OWu3R9GCFTNrfEMZP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EVzUUHRmK_McHqJ8CKW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ZYfSWTRiq7KGKQJ24Qo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pxl3oPTv2C0krOkRPAC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4dNp74RH65xz4ZqwX5j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ACNgIQsmQPART7qIIB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nn8Z5qTiCTex6jT1rWA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vIbxYlTAOvY.JqIP0y1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FaaI9tSnGuXu6Pw0mnN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FDTW2NQHeYtEX59UArh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yLmIW8R1ujBRenmXRH_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xVvrMXRpyDySKh3vbSj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V.VoUdRVGvk0xugPNkp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Qul.XQXmTura6JDOtz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AzEgOqQ1iltL92dgNXl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d0IIlfTROylO7Itt301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cO6bt8RfOwQlQSn9JXU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YfymVwSi2H4UINYiSBH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OVQu63RdC2.PRSs_auB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5goWKASgSdE.chtN7iT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8kwOVMQG68PRFoj3Dh6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U8Q63Sd6b4pvuPy07D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m3ZI_uRBiomJTM8S2tY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TfizRQ72tXazA1phQL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F9MSJSu.W9U6UeZdbf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e9.WRJah6tLA2_KRu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FBhZSSKq1R6Ji802N9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3G70NUTYKyi_2s.o7y4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MPTA_RYGhjiTcQrBkK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JMwoOCnWUTnBRDyeP4R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cyYMEZV8Xj0Xmdo8A.K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6LBfJAAyxb46BQETp7U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crEmRJMxUXPjmJSTk.R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u_v1C4Iqk3OKvViBXch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neFDe4O9zzyizUvnI9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MdTBI4dXA2wPVEZugU_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3ST59QBKwZUeYvyeWj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Ua1WgQESf9xyB4ZQBA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4MwKmSQEyy9y32n9Xgt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4V6IYdTcq2UXgWvar2h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bAcLAsgGfHE0qyXIJ8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nkS2pQVKdfDtJzJ1pm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xs7cQSK2kL.F9LFQ7u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J2C3l1S.mgc7uz6VCPa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Zs.q1TG6Da6yaWpvv7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VW6KSQMidGlcJAC7Le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F_1eQ.A.Y0jPxuASYXS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0WIuZzSPfLpNp1LDoUp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kJlCYvZqc0dWdHvarah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3x16sBTAaj9QAVA.8zq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MvSZxRTuAHBKMmdL1d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EhyoLT3OEPMXzrbg77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NcPRsms86Zv.p3an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ndVQxfQ_yXKkARCXhJT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FoQNMJQ7K.18_XK1Bj6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m3ZI_uRBiomJTM8S2tY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FBhZSSKq1R6Ji802N9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TfizRQ72tXazA1phQL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_FUm6UTRKR88xMPI79k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MPTA_RYGhjiTcQrBkK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F9MSJSu.W9U6UeZdbf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e9.WRJah6tLA2_KRu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p9nUUAnV7V59m.51DS9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YSDAdJlMOtFq_756esW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oKPZwGZ9S_wQ7yj6MOJ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1WMLZOh5KZ.Mu5wj8ly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XGvI5PbVLowORjake8A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310ThQxJhEOMNayV1a0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TWtunXPPPWfX_31E5z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NKgN65PEKJYlUlRZsvz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td.B5ERW2MYIKUvfBoc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7T8VXbzpa8L3E3s2Ru6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3ST59QBKwZUeYvyeWj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Ua1WgQESf9xyB4ZQBA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4V6IYdTcq2UXgWvar2h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nkS2pQVKdfDtJzJ1pm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8SbL97nRz4j0JAdyzUS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Zs.q1TG6Da6yaWpvv7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VW6KSQMidGlcJAC7Le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8NK1zyXlE9ZC3f4_7LJ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J2C3l1S.mgc7uz6VCPa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mQssbgQYeBnxVXsvtfN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.biBqxjP69FpW5yfEQk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MvSZxRTuAHBKMmdL1d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xs7cQSK2kL.F9LFQ7u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EhyoLT3OEPMXzrbg77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NcPRsms86Zv.p3an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ndVQxfQ_yXKkARCXhJT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EP5GVuQCuRwTT_u3_Lj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VmLVLOJcgvmcwdLAgL3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W1LGi_Sd2NZjVc4hGyO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jMcSTFbLptViEezTg7T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MlxYv9CAEWBWlE8sQ.N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8SreTa9.AJkGmuf5v7d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288Y9pxfucopgiDfgMq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5fDw.NsSzB8BTwteKmL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HZc9ouCJGAWmZf6K1Db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OVNnOH9_xuu1_0VkEkn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3Ko4IU2Y3cdbYvi.ZUR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VyB2iRKEPgVe9wJuou1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LdUHqbqxgW1EfvGSa7w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bc8wxYR1yAnYEI3Y5FZ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2wfGsfxdT0cmNPziPYL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BvfAPXauDAHnc6DCLF0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qR7fMvkIt4sZp6PwHC9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Megnh0YWoUBdGK3mn48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FpcX4kXsUvBQI5bkmTG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HQFxL1QJpHqAOS0UgPK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.8.JHNuZ7o6PScZMAFK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MogBmPdiWG5Rj4u2.zi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xhmsVNdUu8dNcwQbfvx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Q3jgdXyqju1DukPvAsF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oY6OZUQrmAJDAOo1KIM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X06F2.bbEmqyNubguFQ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Da__SXhqGn5khSQUEUD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FD2lOUlewMbPntDRg5J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AyXXZSCkzLNRRhcO4kq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E9x9_IG5b19Z8b5Ktmr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Wpwx.p0LixctYUXskzr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GfM1d4y.F0d1uVnwvxG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JmmJNd23R6Zqam6LIqH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CBXryqN8EfEVqjb8bUy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b6gnLqhVKOXpLxzlQBJ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zA7caBOwfKslQNz51Zr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ld0dqDnWKa25XKGgfFK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setkgZH5._u1r9vEaKr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PtHXt76Crnlkl_m4aYg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M1_rSo7fxDkoAb1LMFj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Y4m.eKSvrFTXT0oVt_.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brThfb_IX7sgElgIEEz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pusD4qyIqg7DM6F2Nam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hlXxuCXNeoNnegR0eaO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VZ8h8C8LEmLG5GGw7lk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apzukyNwOdzb6Bxob0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E5R0gRSLmv6xUNhLEWJ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vHxZArhiXfLm.a_uAuf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xfJ.TgxpOK5kTS8H5Mz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naWf8_nDC9LnxmCEzs8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YCdRtG5NQjOzEW7EtdD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5lqeVjZQNAQCjCBM17a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wjvbo3H6_Rq68gr2Kkv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lsJ5tKDYwFQ0qVSAD8L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NZOJJwIjdwQknNVfpxt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lFkXXcMEdj47kvxfsDa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xL_toyQ7w1CGb7abrM4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hRCIRDS0aydq8oYnm27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vqzfcnyiaGAfFx6Uoig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6isrB5MpSP1r5LFQEzU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Stqa8DXVoep7NsId78Q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N.238i27dC.SJiDbV6oQ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AjgNrKm0wMJe6ApJSCD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JlM3Y8egTNJ0tMy2qX6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D8UtXRaR8btmmrPotFx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B.ToQmAr00PDb4cC1Mi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_TeZh7_jogPeiOMPIzD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OylyFBWcV.VgVanTI.S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sGcQLsQ6WhqPZAreD5B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1xYBcUOVKVzOOf.oqQp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By.FGWm6Q7WRmGGKqZx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N3.ysT9p90DP6F55jzI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..WOIQ0OzAyEAoirQCq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Mjm_e7VuolW0gAeIcC7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1koWcqpHdF4st2VvSxD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aQOnl_P.7mUgsO.gDcRQ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Eck8UU.KJrwn.GfzK4Y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VmLVLOJcgvmcwdLAgL3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V.NvyeRAGLJLGVa5LKHA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T1n.INFohALW84bS2Ds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ROUV0fQlCvGu.a9iyc.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tol_2fQ5CVXYJvKjZJA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LwdkYiRPKNSYhqXoUyB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6eg0iMRZaN2YIxHIK2o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wotIU1QAOOhrq_Zkd0U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si8mmWQyOQKoNYV31gV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QCJLMsRXuS0j6lWJLvf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QFY8J5RXKnTik9fYfal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x2_N4WQD2NcwDp63sE7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PPZ.hyQ_iDwAasVtqZmw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E7LKDsTMG7Uc8FBk9bc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a.cjT4T_eDzqYQDg9AY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LnOEy2RCGyQowj.QFz8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1T18zbRdOI0w87s2AyA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blZ87MTgm3ysWr36gBr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7e6B3R5eJayytaLrIh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AoYHqESAutQ_4fcpQgP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4_F36PRIeUnnzXwUHzg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u81YkERMCvh7CJ_5fmj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KmfgBkTwmszVHuij9bp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3Tr_OTTNCX70BMocBmX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BDM0CmQm..pXlL3TnEY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8zJVNnRBiqb5iW5kbpv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mmBYlnSFSb3k1ywpDmf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0mzCJ3R2.W2ShggrPc1A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o0CrdZRsChfwE_A1exK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vFpTCQRh.6emc9zav3h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GDRIvSvaSn5.TVHOIB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pTsanXQc61eLeL_O.KS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nRJ2pfTGG1DaQojvgHf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kzsZIfRP28LfbIHJLFj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LqIarUQ8SAs1eyr1DVJ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bkyhL7To.htqL6JdLaI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BJIQ4kSMyUYIU_Ko8F0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TWsHgR7WLqUcvWZ8zA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fI4_kkSlekJK3HmB4Kn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f6OXGoTYyk1cKlvceLf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hgHRjJSEK0E0o_S9Koi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F2xM5vQq.Fqz.I1TqAc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pyfaWRQ1GAn4AGpPkcp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4zMaH7TFKyAXYVf_xR8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cmtHtaRN.qHK3gFq_Zy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Cx79VNQzebB91VuejE0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WBtJjpQtWA_D6FSv2Dvg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V1bto6Te68iqaFXpQ29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vqxM_dTAORtc1wkJXWs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2wUqoOR9ekG1BGWaFm.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OPBl2OTJy.Bm0yQ.eDV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xe2hMdTiy6h5Z1f0xPL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0QyIHcT0elJ8Ygc8V9V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TWS7dgTaeBq5IpNZl_pw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cm4yfiRCiN9p6xuyrDk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Otfqv8QaSGasFEQsvKe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g3H4HlQNmC4MXIdl0Cw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WkugEFS_.Nt9UV9v64w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IG6McSREmF4krGIXpB8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2YIu6VS..vt3BwfdvBO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mzrBBqQEG3TeXWRvzuE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GLe2yaThW6F1acomzRK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nHQU.SS.6i07Zt81SgXg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VaCsmXSESxcqOsSXe_u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3g72nSTyFKIir_5sugw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6gIGN1QBGJ9t21elIrC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5sQUIRSrysE.jqdogYA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NMXeLTC2YeFngbK0k5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blrzbKTeCp3cGiG.H6Q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Fq1ih2RLuzOrl3pQEEz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BMxmHWSi.L9.SKEjYRjg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r4Ifc_Qk.UUXlZaXtMd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y7i2ZiTB.jLabAkIz8C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iL49nTRuGwW8v5pEYrm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2UkAN2QjCx4KIU6xD.X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OFnymuQFeCetuqkOBbj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SXm01eMoJAWgVnWeGt7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zoHhxISJiX_x9tvkhzm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NvZg4vNXiyQ8D9rXCab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E7LKDsTMG7Uc8FBk9bc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wotIU1QAOOhrq_Zkd0U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hgHRjJSEK0E0o_S9Koi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1T18zbRdOI0w87s2AyAg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si8mmWQyOQKoNYV31gV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mmBYlnSFSb3k1ywpDmf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tol_2fQ5CVXYJvKjZJA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4_F36PRIeUnnzXwUHzg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vFpTCQRh.6emc9zav3h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2GoK3HS6OVID9Nmj4Mdw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GDRIvSvaSn5.TVHOIBw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QFY8J5RXKnTik9fYfal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BJIQ4kSMyUYIU_Ko8F0g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6gIGN1QBGJ9t21elIrC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fI4_kkSlekJK3HmB4Knw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f6OXGoTYyk1cKlvceLf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IG6McSREmF4krGIXpB8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KmfgBkTwmszVHuij9bpw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6eg0iMRZaN2YIxHIK2o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pTsanXQc61eLeL_O.KS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9lkGOvR.WE6FSXusVku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xe2hMdTiy6h5Z1f0xPLQ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Otfqv8QaSGasFEQsvKe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4zMaH7TFKyAXYVf_xR8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WkugEFS_.Nt9UV9v64w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2YIu6VS..vt3BwfdvBOQ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GLe2yaThW6F1acomzRK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blZ87MTgm3ysWr36gBr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nHQU.SS.6i07Zt81SgXg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VaCsmXSESxcqOsSXe_uQ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kzsZIfRP28LfbIHJLFj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h2TyQiQfeGty2n7pQvkA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3g72nSTyFKIir_5sugw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LnOEy2RCGyQowj.QFz8g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blrzbKTeCp3cGiG.H6Q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mzrBBqQEG3TeXWRvzuE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5sQUIRSrysE.jqdogYA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0mzCJ3R2.W2ShggrPc1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cmtHtaRN.qHK3gFq_Zy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BMxmHWSi.L9.SKEjYRj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Fq1ih2RLuzOrl3pQEEz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y7i2ZiTB.jLabAkIz8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KnOjd2QeaRrpr74_atc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OFnymuQFeCetuqkOBbj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iL49nTRuGwW8v5pEYrm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qw33NR9vg8ThBDR4c3dw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RL.GwVoA6BeJgVoVn5z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TAT8EySLiLOmU5cZ56x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SRqv_vTNmS9mX9HarQd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PCzgkKT92jah4m13JTlw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PnOWeFQPmKhUu3TPbeX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QwPQfERMav.TJXMWOUV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RZKnGfSX.WKubfA8Oxq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4dNp74RH65xz4ZqwX5j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wRZqUWRUG6.XvKiTYbl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ZAancaQDSvnALBd0KTAw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Ui8l6BQLm6M72XWaiPPA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EVzUUHRmK_McHqJ8CKW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ZmBsFmSa.jHve7MVw_3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Vukmo4S0.aw5rpBqSI.Q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eqoznRHeVj.NLAVwoN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Qul.XQXmTura6JDOtzg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tIEJahQp.x3iq.mBBI2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BhuMBjRa.jaP9M.9Z7m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h5GAw4ScuJOVMkoc2SA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MD5OBdQiuKAiqe1tgfR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ACNgIQsmQPART7qIIBg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AzEgOqQ1iltL92dgNXlg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6mvOjCSZCatwSZMfT2.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EyqITfQiiZxI42kfR2j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R6cr12RdqyXba0jiRk4Q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yVrAqATO6_czSLT8Ud5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flfFk_RW2jXYgTnYSS_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ZYfSWTRiq7KGKQJ24Qo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NBf_uXS0ur.L1EL_DcT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uDaTQZReK8idIqrosKm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nn8Z5qTiCTex6jT1rWA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FaaI9tSnGuXu6Pw0mnNw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FDTW2NQHeYtEX59UArhA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75OWu3R9GCFTNrfEMZP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yLmIW8R1ujBRenmXRH_Q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pxl3oPTv2C0krOkRPAC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xVvrMXRpyDySKh3vbSj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A2dvCqRKi1dx3XNJEuZQ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V.VoUdRVGvk0xugPNkp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6NsrYjTXGBthQpHdTaz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xFEfrSPijfeJB9igBS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d0IIlfTROylO7Itt301w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cO6bt8RfOwQlQSn9JXUQ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YfymVwSi2H4UINYiSBH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5goWKASgSdE.chtN7iTQ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8kwOVMQG68PRFoj3Dh6A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m3ZI_uRBiomJTM8S2tYw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F9MSJSu.W9U6UeZdbfw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FBhZSSKq1R6Ji802N9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GgiGopRrWEIDRCm5C2cA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TfizRQ72tXazA1phQL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MPTA_RYGhjiTcQrBkKA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e9.WRJah6tLA2_KRu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pniSfdlYynuApwUi2kRA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yH94eURbUDPHIlgCUh_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hqZ49QYCip1GeLSZhlVQ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ZccZWZ_3Cw21TzhNcA5g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.vthkqbLI4Rky_jkAW5g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mxWI9DzkgGJaOlN_wgeQ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8NF1QiWNGhv3fv49Kgl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oNLb_aRmmV4CkUd4zKS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VDHe8oFo1ViwdmDx4C9w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3ST59QBKwZUeYvyeWjg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Ua1WgQESf9xyB4ZQBAw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4V6IYdTcq2UXgWvar2h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xs7cQSK2kL.F9LFQ7u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GQp7elk9_DLW52q.MPeA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nkS2pQVKdfDtJzJ1pmQ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aPpH8kPPIy8FdjYZ9XIw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Zs.q1TG6Da6yaWpvv7w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VW6KSQMidGlcJAC7Le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cZM9AMSyKuQ1Fb1CcEDg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b4OfIXQHaVCqx7yNZX8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J2C3l1S.mgc7uz6VCPag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MvSZxRTuAHBKMmdL1d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NcPRsms86Zv.p3an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EhyoLT3OEPMXzrbg77A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ndVQxfQ_yXKkARCXhJTg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m3ZI_uRBiomJTM8S2tYw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F9MSJSu.W9U6UeZdbfw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TfizRQ72tXazA1phQL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TLBkWESgi.WUE8D3GsE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FBhZSSKq1R6Ji802N9w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MPTA_RYGhjiTcQrBkKA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e9.WRJah6tLA2_KRuw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kEHB54nYi9VuQdFFrgSQ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sltYeGXCDY7VrY_ReJfg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NVeDWQZt1ZCQdoONtAZ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oERAPZa8THBEtv3wspT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eubygnOb1Dd_MwmgYz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7fr2UZMozasPOq1.qIog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GvR4vJJSiYSdCu4cZL0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imwinYR8WlpTaUeOK1d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.kZ9GFMwOmvWZxi0NTi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3ST59QBKwZUeYvyeWjg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Ua1WgQESf9xyB4ZQBAw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4V6IYdTcq2UXgWvar2hg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nkS2pQVKdfDtJzJ1pmQ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EhyoLT3OEPMXzrbg77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i1Ri0U3k02idMM9hrPkQ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teNqW3LNrb_Ja1kVNqjA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Zs.q1TG6Da6yaWpvv7w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MvSZxRTuAHBKMmdL1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hUr_DQRoucHjYip31W2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VW6KSQMidGlcJAC7LeQ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OMy6l09B0KJazoOtttxQ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J2C3l1S.mgc7uz6VCPa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ru9y56GhEekbAkJXd0tQ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IddTqoods3Mtg28zK8tQ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xs7cQSK2kL.F9LFQ7uA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NcPRsms86Zv.p3anA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ndVQxfQ_yXKkARCXhJTg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rXbSU8CP6G806eJ1pmK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LmBsLhRY66x3Ggs0Fx3g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PuSlF7RHWMv1h0Z41Pdg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TBggrWRmKpcB8Dgc3.Aw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qSsUprR4eXd.xUhuZSDA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ioITgkxMmuXxksxKb3SQ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tFDm5X1tf3HLKMDln7U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4Yk9jH6UW.azX2yEE99Rw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xz4hnX4sYMrQ75NzBFX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H_yx88o7M4njHM4yoAp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UJP2Nf6JcEV5Owf9qf2g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PbZyWiaZ7EMNgBUuQGM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GrLnLWSQWBywAZXr0ITw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oAy5lOTvaYZVfPQETqTQ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eo4D_6SR6LDphRMZYv_g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gdhLXfQBKeWwMTsopu0w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bBA1a2TgqYYtClKleu_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WY9euvTfi0C3N3r1IVzg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4ymIHk0_yt4EoSb5joCw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ZV5T2ETROolfoz_yMZBA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codUbOtNvmNYlPxd.eX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7sXLb8S1K40Ic2dbXglQ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bgdQxkRqWGyL8mycr9M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qHtG9QSq.z_TW87U3wLw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RsZgNvSIKpqAlJHkgHgw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RIRWxYQlq3.QRWbMI20g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EP5GVuQCuRwTT_u3_LjA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0IGoDEFn31Xnt5KR2fFw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Ef4JAqesM.TprqQTdUp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5gbUhpuBbxwKdJhARsFg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a.cjT4T_eDzqYQDg9AYQ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4zMaH7TFKyAXYVf_xR8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vGVZkNSGy68Pyv80hnnQ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kzsZIfRP28LfbIHJLFjA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TWS7dgTaeBq5IpNZl_pw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wotIU1QAOOhrq_Zkd0Ug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KmfgBkTwmszVHuij9bpw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TWsHgR7WLqUcvWZ8zAg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1T18zbRdOI0w87s2AyAg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x2_N4WQD2NcwDp63sE7Q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tol_2fQ5CVXYJvKjZJAg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GLe2yaThW6F1acomzRKA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2YIu6VS..vt3BwfdvBO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HP4XIE34NLVVdLF2giSQ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LwdkYiRPKNSYhqXoUyBQ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QCJLMsRXuS0j6lWJLvf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7e6B3R5eJayytaLrIhA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E7LKDsTMG7Uc8FBk9bc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4_F36PRIeUnnzXwUHzgA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AoYHqESAutQ_4fcpQgP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BDM0CmQm..pXlL3TnEYQ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8zJVNnRBiqb5iW5kbpvA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mmBYlnSFSb3k1ywpDmfA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6eg0iMRZaN2YIxHIK2o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FcmVtQS80c3ohyXyGEHw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mzrBBqQEG3TeXWRvzuEQ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o0CrdZRsChfwE_A1exKw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ROUV0fQlCvGu.a9iyc.Q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Otfqv8QaSGasFEQsvKeg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2wUqoOR9ekG1BGWaFm.w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vFpTCQRh.6emc9zav3hg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GDRIvSvaSn5.TVHOIBw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nRJ2pfTGG1DaQojvgHfA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bkyhL7To.htqL6JdLaIg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QFY8J5RXKnTik9fYfa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rsxMlvTSyJ_LCtSpFaGw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BJIQ4kSMyUYIU_Ko8F0g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fI4_kkSlekJK3HmB4Knw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f6OXGoTYyk1cKlvceLf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3g72nSTyFKIir_5sugw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F2xM5vQq.Fqz.I1TqAcA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pyfaWRQ1GAn4AGpPkcpw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cmtHtaRN.qHK3gFq_Zyg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blZ87MTgm3ysWr36gBrA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WBtJjpQtWA_D6FSv2Dvg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vqxM_dTAORtc1wkJXWs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tHvgeDQ5OxTcUNe6ruTg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pTsanXQc61eLeL_O.KSQ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xe2hMdTiy6h5Z1f0xPLQ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0QyIHcT0elJ8Ygc8V9VQ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WkugEFS_.Nt9UV9v64wA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cm4yfiRCiN9p6xuyrDkw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V1bto6Te68iqaFXpQ29Q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IG6McSREmF4krGIXpB8Q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0mzCJ3R2.W2ShggrPc1A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u81YkERMCvh7CJ_5fmj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blrzbKTeCp3cGiG.H6Q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lSVAusS9Wq9fUm4suqsg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si8mmWQyOQKoNYV31gVQ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6gIGN1QBGJ9t21elIrCg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OPBl2OTJy.Bm0yQ.eDVw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LnOEy2RCGyQowj.QFz8g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VaCsmXSESxcqOsSXe_uQ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hgHRjJSEK0E0o_S9Koig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nHQU.SS.6i07Zt81SgXg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5sQUIRSrysE.jqdogYAA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BMxmHWSi.L9.SKEjYRjg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r4Ifc_Qk.UUXlZaXtM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_rhPIHTj.5dpOCCV139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AeLSQKTk.JcTr0aCoH9Q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Fq1ih2RLuzOrl3pQEEzg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y7i2ZiTB.jLabAkIz8C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iL49nTRuGwW8v5pEYrmQ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OFnymuQFeCetuqkOBbjQ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2UkAN2QjCx4KIU6xD.Xw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7dgZMFGqxUYpwID07.eA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R6Ro9MyeTG6HJs8Gez4g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tIEJahQp.x3iq.mBBI2A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ZmBsFmSa.jHve7MVw_3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GXPBuWQ2eDqB8HLNoI5w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A2dvCqRKi1dx3XNJEuZQ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Ui8l6BQLm6M72XWaiPPA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wRZqUWRUG6.XvKiTYblw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pxl3oPTv2C0krOkRPACw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PnOWeFQPmKhUu3TPbeXw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EyqITfQiiZxI42kfR2jA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Vukmo4S0.aw5rpBqSI.Q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FDTW2NQHeYtEX59UArhA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TAT8EySLiLOmU5cZ56xQ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SRqv_vTNmS9mX9HarQd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EEuVwJRgS.t9AE3z4Log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PCzgkKT92jah4m13JTlw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ZAancaQDSvnALBd0KTAw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eqoznRHeVj.NLAVwoNw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h5GAw4ScuJOVMkoc2SAA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MD5OBdQiuKAiqe1tgfRQ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ZYfSWTRiq7KGKQJ24Qow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AzEgOqQ1iltL92dgNXlg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6mvOjCSZCatwSZMfT2.w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R6cr12RdqyXba0jiRk4Q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yVrAqATO6_czSLT8Ud5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CSglcWv0dO0ITzQ3lknA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EVzUUHRmK_McHqJ8CKW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flfFk_RW2jXYgTnYSS_A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4dNp74RH65xz4ZqwX5jQ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uDaTQZReK8idIqrosKmg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nn8Z5qTiCTex6jT1rWAQ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FaaI9tSnGuXu6Pw0mnNw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75OWu3R9GCFTNrfEMZP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yLmIW8R1ujBRenmXRH_Q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xVvrMXRpyDySKh3vbSjQ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QwPQfERMav.TJXMWOUV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DlE8IzTGaVD2f3jOctiA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ACNgIQsmQPART7qIIBg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Qul.XQXmTura6JDOtzg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V.VoUdRVGvk0xugPNkpQ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xFEfrSPijfeJB9igBSw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d0IIlfTROylO7Itt301w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cO6bt8RfOwQlQSn9JXUQ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YfymVwSi2H4UINYiSBHA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8kwOVMQG68PRFoj3Dh6A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5goWKASgSdE.chtN7iTQ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auMxweQU2t0FcPm2BESg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NAihzCShRz5VoPHW9UsQ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TfizRQ72tXazA1phQLg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FBhZSSKq1R6Ji802N9w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e9.WRJah6tLA2_KRuw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zndW6gzX9XwbPWxTqjWA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FzMMN9NsUkvlc2ZEdk1A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DpXh9NT90IduGFUc6pvg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2z4f0mZ3JjiZRnCoegEQ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Fj4NoWOHIFrWjQg9FdiQ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IU2.LskP.xnrE2Gtvi.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_YH9kVQ6ybWeFYL9ToGA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EcoaoO6Kfvf03Xg7QcsQ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Ua1WgQESf9xyB4ZQBAw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3ST59QBKwZUeYvyeWjg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4V6IYdTcq2UXgWvar2hg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jY2PFPVB3rTidNIuKikg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nkS2pQVKdfDtJzJ1pmQ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Zs.q1TG6Da6yaWpvv7w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GYezNm986c1vNRboOg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MvSZxRTuAHBKMmdL1dw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xs7cQSK2kL.F9LFQ7u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iZHB.CS5OeEfWuD9yXNQ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EhyoLT3OEPMXzrbg77A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NcPRsms86Zv.p3anA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ndVQxfQ_yXKkARCXhJT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Jnymy9TlW0qeRKsCikD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U06xO_Q3.FPKpwF1EO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s1slAsoWdzbxBgehK3E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3Ezlz8G3sxCvW2TK_f6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JKxTZCRaWHo9Hsw3P_N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EP5GVuQCuRwTT_u3_Lj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n4zsgF9u01wB9brheiS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B6x_SXQvuBiKWhPxXvq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HU1eA4rR1d2gKIdfSFLw"/>
</p:tagLst>
</file>

<file path=ppt/theme/theme1.xml><?xml version="1.0" encoding="utf-8"?>
<a:theme xmlns:a="http://schemas.openxmlformats.org/drawingml/2006/main" name="1_VWAG_Presentation_q_de">
  <a:themeElements>
    <a:clrScheme name="VWAG_CD_-Farben">
      <a:dk1>
        <a:srgbClr val="000000"/>
      </a:dk1>
      <a:lt1>
        <a:srgbClr val="FFFFFF"/>
      </a:lt1>
      <a:dk2>
        <a:srgbClr val="003366"/>
      </a:dk2>
      <a:lt2>
        <a:srgbClr val="D4D6D9"/>
      </a:lt2>
      <a:accent1>
        <a:srgbClr val="4C5356"/>
      </a:accent1>
      <a:accent2>
        <a:srgbClr val="A8ADB3"/>
      </a:accent2>
      <a:accent3>
        <a:srgbClr val="006384"/>
      </a:accent3>
      <a:accent4>
        <a:srgbClr val="5F1939"/>
      </a:accent4>
      <a:accent5>
        <a:srgbClr val="D4D6D9"/>
      </a:accent5>
      <a:accent6>
        <a:srgbClr val="80B0C8"/>
      </a:accent6>
      <a:hlink>
        <a:srgbClr val="004666"/>
      </a:hlink>
      <a:folHlink>
        <a:srgbClr val="A21E4D"/>
      </a:folHlink>
    </a:clrScheme>
    <a:fontScheme name="VWAG">
      <a:majorFont>
        <a:latin typeface="VWAG TheSans"/>
        <a:ea typeface=""/>
        <a:cs typeface=""/>
      </a:majorFont>
      <a:minorFont>
        <a:latin typeface="VWAG The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0" tIns="0" rIns="0" bIns="0" numCol="1" rtlCol="0" anchor="t" anchorCtr="0" compatLnSpc="1">
        <a:prstTxWarp prst="textNoShape">
          <a:avLst/>
        </a:prstTxWarp>
      </a:bodyPr>
      <a:lstStyle>
        <a:defPPr marL="0" marR="0" indent="0" algn="l" defTabSz="67468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67468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>
    <a:extraClrScheme>
      <a:clrScheme name="VWAG_Presentation_q_de 1">
        <a:dk1>
          <a:srgbClr val="000000"/>
        </a:dk1>
        <a:lt1>
          <a:srgbClr val="FFFFFF"/>
        </a:lt1>
        <a:dk2>
          <a:srgbClr val="003366"/>
        </a:dk2>
        <a:lt2>
          <a:srgbClr val="D4D6D9"/>
        </a:lt2>
        <a:accent1>
          <a:srgbClr val="A8ADB3"/>
        </a:accent1>
        <a:accent2>
          <a:srgbClr val="006384"/>
        </a:accent2>
        <a:accent3>
          <a:srgbClr val="FFFFFF"/>
        </a:accent3>
        <a:accent4>
          <a:srgbClr val="000000"/>
        </a:accent4>
        <a:accent5>
          <a:srgbClr val="D1D3D6"/>
        </a:accent5>
        <a:accent6>
          <a:srgbClr val="005977"/>
        </a:accent6>
        <a:hlink>
          <a:srgbClr val="5F1939"/>
        </a:hlink>
        <a:folHlink>
          <a:srgbClr val="80B0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120316_VWAG_Template_draft 1">
    <a:dk1>
      <a:srgbClr val="000000"/>
    </a:dk1>
    <a:lt1>
      <a:srgbClr val="FFFFFF"/>
    </a:lt1>
    <a:dk2>
      <a:srgbClr val="003366"/>
    </a:dk2>
    <a:lt2>
      <a:srgbClr val="D4D6D9"/>
    </a:lt2>
    <a:accent1>
      <a:srgbClr val="A6ADB3"/>
    </a:accent1>
    <a:accent2>
      <a:srgbClr val="006384"/>
    </a:accent2>
    <a:accent3>
      <a:srgbClr val="FFFFFF"/>
    </a:accent3>
    <a:accent4>
      <a:srgbClr val="000000"/>
    </a:accent4>
    <a:accent5>
      <a:srgbClr val="D0D3D6"/>
    </a:accent5>
    <a:accent6>
      <a:srgbClr val="005977"/>
    </a:accent6>
    <a:hlink>
      <a:srgbClr val="5F1939"/>
    </a:hlink>
    <a:folHlink>
      <a:srgbClr val="80B0C8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120316_VWAG_Template_draft 1">
    <a:dk1>
      <a:srgbClr val="000000"/>
    </a:dk1>
    <a:lt1>
      <a:srgbClr val="FFFFFF"/>
    </a:lt1>
    <a:dk2>
      <a:srgbClr val="003366"/>
    </a:dk2>
    <a:lt2>
      <a:srgbClr val="D4D6D9"/>
    </a:lt2>
    <a:accent1>
      <a:srgbClr val="A6ADB3"/>
    </a:accent1>
    <a:accent2>
      <a:srgbClr val="006384"/>
    </a:accent2>
    <a:accent3>
      <a:srgbClr val="FFFFFF"/>
    </a:accent3>
    <a:accent4>
      <a:srgbClr val="000000"/>
    </a:accent4>
    <a:accent5>
      <a:srgbClr val="D0D3D6"/>
    </a:accent5>
    <a:accent6>
      <a:srgbClr val="005977"/>
    </a:accent6>
    <a:hlink>
      <a:srgbClr val="5F1939"/>
    </a:hlink>
    <a:folHlink>
      <a:srgbClr val="80B0C8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230</Words>
  <Application>Microsoft Office PowerPoint</Application>
  <PresentationFormat>A4 Paper (210x297 mm)</PresentationFormat>
  <Paragraphs>1943</Paragraphs>
  <Slides>27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5" baseType="lpstr">
      <vt:lpstr>等线</vt:lpstr>
      <vt:lpstr>宋体</vt:lpstr>
      <vt:lpstr>Arial</vt:lpstr>
      <vt:lpstr>Calibri</vt:lpstr>
      <vt:lpstr>VWAG TheSans</vt:lpstr>
      <vt:lpstr>Webdings</vt:lpstr>
      <vt:lpstr>1_VWAG_Presentation_q_de</vt:lpstr>
      <vt:lpstr>think-cell Slide</vt:lpstr>
      <vt:lpstr>PR69.OP FAW-VW Volume Planning Presentation</vt:lpstr>
      <vt:lpstr>Table of Contents </vt:lpstr>
      <vt:lpstr>Table of Contents </vt:lpstr>
      <vt:lpstr>Titel</vt:lpstr>
      <vt:lpstr>Titel </vt:lpstr>
      <vt:lpstr>Titel</vt:lpstr>
      <vt:lpstr>Table of Contents </vt:lpstr>
      <vt:lpstr>FAW-VW Cycle Plan</vt:lpstr>
      <vt:lpstr>FAW-VW PR69.OP Volume Planning 2020-2030</vt:lpstr>
      <vt:lpstr>FAW-VW VW+ Jetta and Audi CKD PR69.OP Volume Planning 2020-2030</vt:lpstr>
      <vt:lpstr>FAW-VW NEV PR69.OP Volume Planning 2020-2030</vt:lpstr>
      <vt:lpstr>FAW-VW Volume PR69.OP vs. PR69.SP</vt:lpstr>
      <vt:lpstr>FAW-VW PR69.OP vs. PR69.SP - Acc. Volumes (2020-2030)</vt:lpstr>
      <vt:lpstr>FAW-VW NEV Volume PR69.OP vs. PR69.SP</vt:lpstr>
      <vt:lpstr>FAW-VW NEV PR69.OP vs. PR69.SP - Acc. Volumes (2020-2029)</vt:lpstr>
      <vt:lpstr>Table of Contents </vt:lpstr>
      <vt:lpstr>FAW-VW VW + Jetta PR69.OP Volume Planning 2020-2030</vt:lpstr>
      <vt:lpstr>FAW-VW VW PR69.OP Volume Planning 2020-2030</vt:lpstr>
      <vt:lpstr>FAW-VW Jetta PR69.OP Volume Planning 2020-2030</vt:lpstr>
      <vt:lpstr>FAW-VW NEV PR69.OP Volume Planning 2020-2030</vt:lpstr>
      <vt:lpstr>FAW-VW VW PR69.OP vs. PR69.SP - Acc. Volumes (2020-2030)</vt:lpstr>
      <vt:lpstr>FAW-VW VW NEV PR69.OP vs. PR69.SP - Acc. Volumes (2020-2030)</vt:lpstr>
      <vt:lpstr>FAW-VW Jetta PR69.OP vs. PR69.SP - Acc. Volumes (2020-2030)</vt:lpstr>
      <vt:lpstr>Table of Contents </vt:lpstr>
      <vt:lpstr>FAW-VW Audi CKD PR69.OP Volume Planning 2020-2030</vt:lpstr>
      <vt:lpstr>FAW-VW Audi NEV PR69.OP Volume Planning 2020-2030</vt:lpstr>
      <vt:lpstr>FAW-VW Audi PR69.OP vs. PR69.SP - Acc. Volumes (2020-2030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1-07-05T10:04:19Z</dcterms:created>
  <dcterms:modified xsi:type="dcterms:W3CDTF">2020-08-25T09:5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